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3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  <p:sldMasterId id="2147483795" r:id="rId5"/>
    <p:sldMasterId id="2147483796" r:id="rId6"/>
  </p:sldMasterIdLst>
  <p:notesMasterIdLst>
    <p:notesMasterId r:id="rId10"/>
  </p:notesMasterIdLst>
  <p:handoutMasterIdLst>
    <p:handoutMasterId r:id="rId11"/>
  </p:handoutMasterIdLst>
  <p:sldIdLst>
    <p:sldId id="590" r:id="rId7"/>
    <p:sldId id="2147376552" r:id="rId8"/>
    <p:sldId id="569" r:id="rId9"/>
  </p:sldIdLst>
  <p:sldSz cx="12192000" cy="6858000"/>
  <p:notesSz cx="6858000" cy="9144000"/>
  <p:custDataLst>
    <p:tags r:id="rId12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291C"/>
    <a:srgbClr val="111107"/>
    <a:srgbClr val="AD1AD9"/>
    <a:srgbClr val="00A9E0"/>
    <a:srgbClr val="E35205"/>
    <a:srgbClr val="F9D3D0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D8E9958-1E29-4327-856B-F5AE218BB45D}" v="324" dt="2024-10-11T16:54:52.0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C1B9FBF-3DEB-ED49-8387-9EE937559946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FDC79736-B4E0-CD45-9CAD-B7BCAD5FE72A}">
      <dgm:prSet custT="1"/>
      <dgm:spPr/>
      <dgm:t>
        <a:bodyPr/>
        <a:lstStyle/>
        <a:p>
          <a:r>
            <a:rPr lang="en-US" sz="1400">
              <a:latin typeface="Houschka Head Medium" panose="020F0603020000020003" pitchFamily="34" charset="0"/>
            </a:rPr>
            <a:t>EXPLAIN</a:t>
          </a:r>
          <a:endParaRPr lang="en-CZ" sz="1400">
            <a:latin typeface="Houschka Head Medium" panose="020F0603020000020003" pitchFamily="34" charset="0"/>
          </a:endParaRPr>
        </a:p>
      </dgm:t>
    </dgm:pt>
    <dgm:pt modelId="{38B85E02-F2D9-2A45-B76A-B03751F95F00}" type="parTrans" cxnId="{10B9A534-BB70-134D-9CF2-3C7ED7A69B80}">
      <dgm:prSet/>
      <dgm:spPr/>
      <dgm:t>
        <a:bodyPr/>
        <a:lstStyle/>
        <a:p>
          <a:endParaRPr lang="en-GB"/>
        </a:p>
      </dgm:t>
    </dgm:pt>
    <dgm:pt modelId="{DC72FA59-8366-0A44-BC9E-3B4C32EDD755}" type="sibTrans" cxnId="{10B9A534-BB70-134D-9CF2-3C7ED7A69B80}">
      <dgm:prSet/>
      <dgm:spPr>
        <a:solidFill>
          <a:schemeClr val="accent1">
            <a:alpha val="50000"/>
          </a:schemeClr>
        </a:solidFill>
      </dgm:spPr>
      <dgm:t>
        <a:bodyPr/>
        <a:lstStyle/>
        <a:p>
          <a:endParaRPr lang="en-GB"/>
        </a:p>
      </dgm:t>
    </dgm:pt>
    <dgm:pt modelId="{DCF566B1-8675-A140-A6C0-C6E4E2D30DF7}">
      <dgm:prSet custT="1"/>
      <dgm:spPr>
        <a:solidFill>
          <a:schemeClr val="accent2"/>
        </a:solidFill>
      </dgm:spPr>
      <dgm:t>
        <a:bodyPr/>
        <a:lstStyle/>
        <a:p>
          <a:r>
            <a:rPr lang="en-US" sz="1400" b="1">
              <a:latin typeface="Houschka Head Medium" panose="020F0603020000020003" pitchFamily="34" charset="0"/>
            </a:rPr>
            <a:t>SHOW</a:t>
          </a:r>
          <a:endParaRPr lang="en-CZ" sz="1400">
            <a:latin typeface="Houschka Head Medium" panose="020F0603020000020003" pitchFamily="34" charset="0"/>
          </a:endParaRPr>
        </a:p>
      </dgm:t>
    </dgm:pt>
    <dgm:pt modelId="{FEE77D7B-73DA-C14C-817E-C1A72B3E6D99}" type="parTrans" cxnId="{2DDC599E-47B4-5142-925B-84EA58BDEA25}">
      <dgm:prSet/>
      <dgm:spPr/>
      <dgm:t>
        <a:bodyPr/>
        <a:lstStyle/>
        <a:p>
          <a:endParaRPr lang="en-GB"/>
        </a:p>
      </dgm:t>
    </dgm:pt>
    <dgm:pt modelId="{5BD1172B-22FD-6647-BE05-A629CF473629}" type="sibTrans" cxnId="{2DDC599E-47B4-5142-925B-84EA58BDEA25}">
      <dgm:prSet/>
      <dgm:spPr>
        <a:solidFill>
          <a:schemeClr val="accent1">
            <a:alpha val="50000"/>
          </a:schemeClr>
        </a:solidFill>
      </dgm:spPr>
      <dgm:t>
        <a:bodyPr/>
        <a:lstStyle/>
        <a:p>
          <a:endParaRPr lang="en-GB"/>
        </a:p>
      </dgm:t>
    </dgm:pt>
    <dgm:pt modelId="{44ABFE9C-BCB0-524D-91F0-E442A3453175}">
      <dgm:prSet custT="1"/>
      <dgm:spPr>
        <a:solidFill>
          <a:schemeClr val="accent3"/>
        </a:solidFill>
      </dgm:spPr>
      <dgm:t>
        <a:bodyPr/>
        <a:lstStyle/>
        <a:p>
          <a:r>
            <a:rPr lang="en-US" sz="1400" b="1">
              <a:latin typeface="Houschka Head Medium" panose="020F0603020000020003" pitchFamily="34" charset="0"/>
            </a:rPr>
            <a:t>DO</a:t>
          </a:r>
          <a:endParaRPr lang="en-US" sz="1400">
            <a:latin typeface="Houschka Head Medium" panose="020F0603020000020003" pitchFamily="34" charset="0"/>
          </a:endParaRPr>
        </a:p>
      </dgm:t>
    </dgm:pt>
    <dgm:pt modelId="{99ABAAA0-2726-074B-AE89-015E7188365A}" type="parTrans" cxnId="{F3DC557B-296D-F041-B422-CBE3EBE24B61}">
      <dgm:prSet/>
      <dgm:spPr/>
      <dgm:t>
        <a:bodyPr/>
        <a:lstStyle/>
        <a:p>
          <a:endParaRPr lang="en-GB"/>
        </a:p>
      </dgm:t>
    </dgm:pt>
    <dgm:pt modelId="{732E0EBC-346B-0440-935C-260630C4159B}" type="sibTrans" cxnId="{F3DC557B-296D-F041-B422-CBE3EBE24B61}">
      <dgm:prSet/>
      <dgm:spPr>
        <a:solidFill>
          <a:schemeClr val="accent1">
            <a:alpha val="50000"/>
          </a:schemeClr>
        </a:solidFill>
      </dgm:spPr>
      <dgm:t>
        <a:bodyPr/>
        <a:lstStyle/>
        <a:p>
          <a:endParaRPr lang="en-GB"/>
        </a:p>
      </dgm:t>
    </dgm:pt>
    <dgm:pt modelId="{D16F471F-6431-F447-A356-849A19E49538}">
      <dgm:prSet custT="1"/>
      <dgm:spPr>
        <a:solidFill>
          <a:schemeClr val="tx2"/>
        </a:solidFill>
      </dgm:spPr>
      <dgm:t>
        <a:bodyPr/>
        <a:lstStyle/>
        <a:p>
          <a:r>
            <a:rPr lang="en-US" sz="1400" b="1">
              <a:latin typeface="Houschka Head Medium" panose="020F0603020000020003" pitchFamily="34" charset="0"/>
            </a:rPr>
            <a:t>REPEAT</a:t>
          </a:r>
          <a:endParaRPr lang="en-CZ" sz="1400">
            <a:latin typeface="Houschka Head Medium" panose="020F0603020000020003" pitchFamily="34" charset="0"/>
          </a:endParaRPr>
        </a:p>
      </dgm:t>
    </dgm:pt>
    <dgm:pt modelId="{DFD23763-46E5-9D40-8E31-725F9C1512AE}" type="parTrans" cxnId="{CEA3B67E-06F2-F94C-ABF9-26B1AACCEF22}">
      <dgm:prSet/>
      <dgm:spPr/>
      <dgm:t>
        <a:bodyPr/>
        <a:lstStyle/>
        <a:p>
          <a:endParaRPr lang="en-GB"/>
        </a:p>
      </dgm:t>
    </dgm:pt>
    <dgm:pt modelId="{2838ADF4-3F16-D34F-B177-E2763254A554}" type="sibTrans" cxnId="{CEA3B67E-06F2-F94C-ABF9-26B1AACCEF22}">
      <dgm:prSet/>
      <dgm:spPr>
        <a:solidFill>
          <a:schemeClr val="accent1">
            <a:alpha val="50000"/>
          </a:schemeClr>
        </a:solidFill>
      </dgm:spPr>
      <dgm:t>
        <a:bodyPr/>
        <a:lstStyle/>
        <a:p>
          <a:endParaRPr lang="en-GB"/>
        </a:p>
      </dgm:t>
    </dgm:pt>
    <dgm:pt modelId="{6B6440A4-D2A7-6E43-ABE9-361DDF7AEB69}" type="pres">
      <dgm:prSet presAssocID="{7C1B9FBF-3DEB-ED49-8387-9EE937559946}" presName="cycle" presStyleCnt="0">
        <dgm:presLayoutVars>
          <dgm:dir/>
          <dgm:resizeHandles val="exact"/>
        </dgm:presLayoutVars>
      </dgm:prSet>
      <dgm:spPr/>
    </dgm:pt>
    <dgm:pt modelId="{9A2357CD-B2ED-D044-B912-EE0517BA6708}" type="pres">
      <dgm:prSet presAssocID="{FDC79736-B4E0-CD45-9CAD-B7BCAD5FE72A}" presName="node" presStyleLbl="node1" presStyleIdx="0" presStyleCnt="4">
        <dgm:presLayoutVars>
          <dgm:bulletEnabled val="1"/>
        </dgm:presLayoutVars>
      </dgm:prSet>
      <dgm:spPr/>
    </dgm:pt>
    <dgm:pt modelId="{EF8F699C-061C-0F4D-835D-7118A66FBF10}" type="pres">
      <dgm:prSet presAssocID="{DC72FA59-8366-0A44-BC9E-3B4C32EDD755}" presName="sibTrans" presStyleLbl="sibTrans2D1" presStyleIdx="0" presStyleCnt="4"/>
      <dgm:spPr/>
    </dgm:pt>
    <dgm:pt modelId="{FAFB3584-F938-B744-BE70-FA68FFCEB608}" type="pres">
      <dgm:prSet presAssocID="{DC72FA59-8366-0A44-BC9E-3B4C32EDD755}" presName="connectorText" presStyleLbl="sibTrans2D1" presStyleIdx="0" presStyleCnt="4"/>
      <dgm:spPr/>
    </dgm:pt>
    <dgm:pt modelId="{247E2B9C-E135-254E-BCDD-8F0624AEED01}" type="pres">
      <dgm:prSet presAssocID="{DCF566B1-8675-A140-A6C0-C6E4E2D30DF7}" presName="node" presStyleLbl="node1" presStyleIdx="1" presStyleCnt="4">
        <dgm:presLayoutVars>
          <dgm:bulletEnabled val="1"/>
        </dgm:presLayoutVars>
      </dgm:prSet>
      <dgm:spPr/>
    </dgm:pt>
    <dgm:pt modelId="{670D49BD-1C4D-2545-BBCE-FE5FCC714956}" type="pres">
      <dgm:prSet presAssocID="{5BD1172B-22FD-6647-BE05-A629CF473629}" presName="sibTrans" presStyleLbl="sibTrans2D1" presStyleIdx="1" presStyleCnt="4"/>
      <dgm:spPr/>
    </dgm:pt>
    <dgm:pt modelId="{1F375274-958C-FE4A-8BA9-79A68A659591}" type="pres">
      <dgm:prSet presAssocID="{5BD1172B-22FD-6647-BE05-A629CF473629}" presName="connectorText" presStyleLbl="sibTrans2D1" presStyleIdx="1" presStyleCnt="4"/>
      <dgm:spPr/>
    </dgm:pt>
    <dgm:pt modelId="{16517CE4-19BD-9546-973A-EB219FAF059A}" type="pres">
      <dgm:prSet presAssocID="{44ABFE9C-BCB0-524D-91F0-E442A3453175}" presName="node" presStyleLbl="node1" presStyleIdx="2" presStyleCnt="4">
        <dgm:presLayoutVars>
          <dgm:bulletEnabled val="1"/>
        </dgm:presLayoutVars>
      </dgm:prSet>
      <dgm:spPr/>
    </dgm:pt>
    <dgm:pt modelId="{B850B644-ABE0-504E-8BE4-165B123E4DC9}" type="pres">
      <dgm:prSet presAssocID="{732E0EBC-346B-0440-935C-260630C4159B}" presName="sibTrans" presStyleLbl="sibTrans2D1" presStyleIdx="2" presStyleCnt="4"/>
      <dgm:spPr/>
    </dgm:pt>
    <dgm:pt modelId="{7B288AD4-2676-2B48-9935-51E847CA9F95}" type="pres">
      <dgm:prSet presAssocID="{732E0EBC-346B-0440-935C-260630C4159B}" presName="connectorText" presStyleLbl="sibTrans2D1" presStyleIdx="2" presStyleCnt="4"/>
      <dgm:spPr/>
    </dgm:pt>
    <dgm:pt modelId="{9DDB9B02-0E11-2E49-A3CB-7C5BF30E73C2}" type="pres">
      <dgm:prSet presAssocID="{D16F471F-6431-F447-A356-849A19E49538}" presName="node" presStyleLbl="node1" presStyleIdx="3" presStyleCnt="4">
        <dgm:presLayoutVars>
          <dgm:bulletEnabled val="1"/>
        </dgm:presLayoutVars>
      </dgm:prSet>
      <dgm:spPr/>
    </dgm:pt>
    <dgm:pt modelId="{551BF998-0B5F-C243-A124-894000763EE9}" type="pres">
      <dgm:prSet presAssocID="{2838ADF4-3F16-D34F-B177-E2763254A554}" presName="sibTrans" presStyleLbl="sibTrans2D1" presStyleIdx="3" presStyleCnt="4"/>
      <dgm:spPr/>
    </dgm:pt>
    <dgm:pt modelId="{D82B3D3D-BA20-6940-9952-423C8FC2B8D1}" type="pres">
      <dgm:prSet presAssocID="{2838ADF4-3F16-D34F-B177-E2763254A554}" presName="connectorText" presStyleLbl="sibTrans2D1" presStyleIdx="3" presStyleCnt="4"/>
      <dgm:spPr/>
    </dgm:pt>
  </dgm:ptLst>
  <dgm:cxnLst>
    <dgm:cxn modelId="{824A7F18-15B1-7642-9631-A53B169A8165}" type="presOf" srcId="{DCF566B1-8675-A140-A6C0-C6E4E2D30DF7}" destId="{247E2B9C-E135-254E-BCDD-8F0624AEED01}" srcOrd="0" destOrd="0" presId="urn:microsoft.com/office/officeart/2005/8/layout/cycle2"/>
    <dgm:cxn modelId="{F75F1424-C0B6-324A-BCF7-50DE7007F0D9}" type="presOf" srcId="{FDC79736-B4E0-CD45-9CAD-B7BCAD5FE72A}" destId="{9A2357CD-B2ED-D044-B912-EE0517BA6708}" srcOrd="0" destOrd="0" presId="urn:microsoft.com/office/officeart/2005/8/layout/cycle2"/>
    <dgm:cxn modelId="{DE6D1733-4A3D-5C4A-837D-A0F7F9BE517A}" type="presOf" srcId="{732E0EBC-346B-0440-935C-260630C4159B}" destId="{7B288AD4-2676-2B48-9935-51E847CA9F95}" srcOrd="1" destOrd="0" presId="urn:microsoft.com/office/officeart/2005/8/layout/cycle2"/>
    <dgm:cxn modelId="{10B9A534-BB70-134D-9CF2-3C7ED7A69B80}" srcId="{7C1B9FBF-3DEB-ED49-8387-9EE937559946}" destId="{FDC79736-B4E0-CD45-9CAD-B7BCAD5FE72A}" srcOrd="0" destOrd="0" parTransId="{38B85E02-F2D9-2A45-B76A-B03751F95F00}" sibTransId="{DC72FA59-8366-0A44-BC9E-3B4C32EDD755}"/>
    <dgm:cxn modelId="{D7012274-EC9C-0D4F-87BC-F5FAAA326FBF}" type="presOf" srcId="{5BD1172B-22FD-6647-BE05-A629CF473629}" destId="{1F375274-958C-FE4A-8BA9-79A68A659591}" srcOrd="1" destOrd="0" presId="urn:microsoft.com/office/officeart/2005/8/layout/cycle2"/>
    <dgm:cxn modelId="{F0BA5476-08FB-0A44-B3AD-E14EF1F100FC}" type="presOf" srcId="{7C1B9FBF-3DEB-ED49-8387-9EE937559946}" destId="{6B6440A4-D2A7-6E43-ABE9-361DDF7AEB69}" srcOrd="0" destOrd="0" presId="urn:microsoft.com/office/officeart/2005/8/layout/cycle2"/>
    <dgm:cxn modelId="{B5468356-270F-234E-9976-CB49F7E32A96}" type="presOf" srcId="{2838ADF4-3F16-D34F-B177-E2763254A554}" destId="{551BF998-0B5F-C243-A124-894000763EE9}" srcOrd="0" destOrd="0" presId="urn:microsoft.com/office/officeart/2005/8/layout/cycle2"/>
    <dgm:cxn modelId="{FFA3775A-4A78-9945-A38E-B606EF1F6ABC}" type="presOf" srcId="{732E0EBC-346B-0440-935C-260630C4159B}" destId="{B850B644-ABE0-504E-8BE4-165B123E4DC9}" srcOrd="0" destOrd="0" presId="urn:microsoft.com/office/officeart/2005/8/layout/cycle2"/>
    <dgm:cxn modelId="{F3DC557B-296D-F041-B422-CBE3EBE24B61}" srcId="{7C1B9FBF-3DEB-ED49-8387-9EE937559946}" destId="{44ABFE9C-BCB0-524D-91F0-E442A3453175}" srcOrd="2" destOrd="0" parTransId="{99ABAAA0-2726-074B-AE89-015E7188365A}" sibTransId="{732E0EBC-346B-0440-935C-260630C4159B}"/>
    <dgm:cxn modelId="{CEA3B67E-06F2-F94C-ABF9-26B1AACCEF22}" srcId="{7C1B9FBF-3DEB-ED49-8387-9EE937559946}" destId="{D16F471F-6431-F447-A356-849A19E49538}" srcOrd="3" destOrd="0" parTransId="{DFD23763-46E5-9D40-8E31-725F9C1512AE}" sibTransId="{2838ADF4-3F16-D34F-B177-E2763254A554}"/>
    <dgm:cxn modelId="{E1989094-7A4D-B74D-931F-2497BDFE75A7}" type="presOf" srcId="{2838ADF4-3F16-D34F-B177-E2763254A554}" destId="{D82B3D3D-BA20-6940-9952-423C8FC2B8D1}" srcOrd="1" destOrd="0" presId="urn:microsoft.com/office/officeart/2005/8/layout/cycle2"/>
    <dgm:cxn modelId="{2DDC599E-47B4-5142-925B-84EA58BDEA25}" srcId="{7C1B9FBF-3DEB-ED49-8387-9EE937559946}" destId="{DCF566B1-8675-A140-A6C0-C6E4E2D30DF7}" srcOrd="1" destOrd="0" parTransId="{FEE77D7B-73DA-C14C-817E-C1A72B3E6D99}" sibTransId="{5BD1172B-22FD-6647-BE05-A629CF473629}"/>
    <dgm:cxn modelId="{6E11A0C0-1AE1-4542-8535-99C11AFE3567}" type="presOf" srcId="{5BD1172B-22FD-6647-BE05-A629CF473629}" destId="{670D49BD-1C4D-2545-BBCE-FE5FCC714956}" srcOrd="0" destOrd="0" presId="urn:microsoft.com/office/officeart/2005/8/layout/cycle2"/>
    <dgm:cxn modelId="{ADF360C1-9378-5C4B-A342-32080EF9BED9}" type="presOf" srcId="{DC72FA59-8366-0A44-BC9E-3B4C32EDD755}" destId="{EF8F699C-061C-0F4D-835D-7118A66FBF10}" srcOrd="0" destOrd="0" presId="urn:microsoft.com/office/officeart/2005/8/layout/cycle2"/>
    <dgm:cxn modelId="{77496ACF-181D-0A40-B532-5766434AC81B}" type="presOf" srcId="{D16F471F-6431-F447-A356-849A19E49538}" destId="{9DDB9B02-0E11-2E49-A3CB-7C5BF30E73C2}" srcOrd="0" destOrd="0" presId="urn:microsoft.com/office/officeart/2005/8/layout/cycle2"/>
    <dgm:cxn modelId="{B3ACF4F5-BE94-1A4F-8CD9-BB9E96EC9860}" type="presOf" srcId="{DC72FA59-8366-0A44-BC9E-3B4C32EDD755}" destId="{FAFB3584-F938-B744-BE70-FA68FFCEB608}" srcOrd="1" destOrd="0" presId="urn:microsoft.com/office/officeart/2005/8/layout/cycle2"/>
    <dgm:cxn modelId="{648DB8F7-F4CC-B041-81BC-4AD584123869}" type="presOf" srcId="{44ABFE9C-BCB0-524D-91F0-E442A3453175}" destId="{16517CE4-19BD-9546-973A-EB219FAF059A}" srcOrd="0" destOrd="0" presId="urn:microsoft.com/office/officeart/2005/8/layout/cycle2"/>
    <dgm:cxn modelId="{BF5FA4B7-A09A-BB47-8667-88E2852D67AF}" type="presParOf" srcId="{6B6440A4-D2A7-6E43-ABE9-361DDF7AEB69}" destId="{9A2357CD-B2ED-D044-B912-EE0517BA6708}" srcOrd="0" destOrd="0" presId="urn:microsoft.com/office/officeart/2005/8/layout/cycle2"/>
    <dgm:cxn modelId="{22ECAD5A-BF9B-0249-84D8-838642842092}" type="presParOf" srcId="{6B6440A4-D2A7-6E43-ABE9-361DDF7AEB69}" destId="{EF8F699C-061C-0F4D-835D-7118A66FBF10}" srcOrd="1" destOrd="0" presId="urn:microsoft.com/office/officeart/2005/8/layout/cycle2"/>
    <dgm:cxn modelId="{A374C516-6E05-104C-B5F5-75F01A67A6DB}" type="presParOf" srcId="{EF8F699C-061C-0F4D-835D-7118A66FBF10}" destId="{FAFB3584-F938-B744-BE70-FA68FFCEB608}" srcOrd="0" destOrd="0" presId="urn:microsoft.com/office/officeart/2005/8/layout/cycle2"/>
    <dgm:cxn modelId="{F2BD8AD9-5F45-8A4D-882D-926B602FF144}" type="presParOf" srcId="{6B6440A4-D2A7-6E43-ABE9-361DDF7AEB69}" destId="{247E2B9C-E135-254E-BCDD-8F0624AEED01}" srcOrd="2" destOrd="0" presId="urn:microsoft.com/office/officeart/2005/8/layout/cycle2"/>
    <dgm:cxn modelId="{445CF53E-2677-6E4F-89B5-9476611B1B2E}" type="presParOf" srcId="{6B6440A4-D2A7-6E43-ABE9-361DDF7AEB69}" destId="{670D49BD-1C4D-2545-BBCE-FE5FCC714956}" srcOrd="3" destOrd="0" presId="urn:microsoft.com/office/officeart/2005/8/layout/cycle2"/>
    <dgm:cxn modelId="{27CE065D-60FE-4840-9ACB-DBA77599FDBD}" type="presParOf" srcId="{670D49BD-1C4D-2545-BBCE-FE5FCC714956}" destId="{1F375274-958C-FE4A-8BA9-79A68A659591}" srcOrd="0" destOrd="0" presId="urn:microsoft.com/office/officeart/2005/8/layout/cycle2"/>
    <dgm:cxn modelId="{7FE1F4B6-E0FB-D240-B5C8-C8DFA415B3A8}" type="presParOf" srcId="{6B6440A4-D2A7-6E43-ABE9-361DDF7AEB69}" destId="{16517CE4-19BD-9546-973A-EB219FAF059A}" srcOrd="4" destOrd="0" presId="urn:microsoft.com/office/officeart/2005/8/layout/cycle2"/>
    <dgm:cxn modelId="{A91E05AF-AFC3-5441-99F6-73F87D729895}" type="presParOf" srcId="{6B6440A4-D2A7-6E43-ABE9-361DDF7AEB69}" destId="{B850B644-ABE0-504E-8BE4-165B123E4DC9}" srcOrd="5" destOrd="0" presId="urn:microsoft.com/office/officeart/2005/8/layout/cycle2"/>
    <dgm:cxn modelId="{D0A32B5A-66E9-2046-9310-1CBCD142CF16}" type="presParOf" srcId="{B850B644-ABE0-504E-8BE4-165B123E4DC9}" destId="{7B288AD4-2676-2B48-9935-51E847CA9F95}" srcOrd="0" destOrd="0" presId="urn:microsoft.com/office/officeart/2005/8/layout/cycle2"/>
    <dgm:cxn modelId="{636B4EEA-D949-7B47-B0C0-44BDA13A7953}" type="presParOf" srcId="{6B6440A4-D2A7-6E43-ABE9-361DDF7AEB69}" destId="{9DDB9B02-0E11-2E49-A3CB-7C5BF30E73C2}" srcOrd="6" destOrd="0" presId="urn:microsoft.com/office/officeart/2005/8/layout/cycle2"/>
    <dgm:cxn modelId="{A459CF66-9520-5F44-96AC-C849A38DF890}" type="presParOf" srcId="{6B6440A4-D2A7-6E43-ABE9-361DDF7AEB69}" destId="{551BF998-0B5F-C243-A124-894000763EE9}" srcOrd="7" destOrd="0" presId="urn:microsoft.com/office/officeart/2005/8/layout/cycle2"/>
    <dgm:cxn modelId="{267F1231-E55D-004C-BB7F-6F0E0E4BF7F4}" type="presParOf" srcId="{551BF998-0B5F-C243-A124-894000763EE9}" destId="{D82B3D3D-BA20-6940-9952-423C8FC2B8D1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2357CD-B2ED-D044-B912-EE0517BA6708}">
      <dsp:nvSpPr>
        <dsp:cNvPr id="0" name=""/>
        <dsp:cNvSpPr/>
      </dsp:nvSpPr>
      <dsp:spPr>
        <a:xfrm>
          <a:off x="2249247" y="236"/>
          <a:ext cx="1325093" cy="132509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Houschka Head Medium" panose="020F0603020000020003" pitchFamily="34" charset="0"/>
            </a:rPr>
            <a:t>EXPLAIN</a:t>
          </a:r>
          <a:endParaRPr lang="en-CZ" sz="1400" kern="1200">
            <a:latin typeface="Houschka Head Medium" panose="020F0603020000020003" pitchFamily="34" charset="0"/>
          </a:endParaRPr>
        </a:p>
      </dsp:txBody>
      <dsp:txXfrm>
        <a:off x="2443302" y="194291"/>
        <a:ext cx="936983" cy="936983"/>
      </dsp:txXfrm>
    </dsp:sp>
    <dsp:sp modelId="{EF8F699C-061C-0F4D-835D-7118A66FBF10}">
      <dsp:nvSpPr>
        <dsp:cNvPr id="0" name=""/>
        <dsp:cNvSpPr/>
      </dsp:nvSpPr>
      <dsp:spPr>
        <a:xfrm rot="2700000">
          <a:off x="3432005" y="1135217"/>
          <a:ext cx="351666" cy="44721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alpha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900" kern="1200"/>
        </a:p>
      </dsp:txBody>
      <dsp:txXfrm>
        <a:off x="3447455" y="1187361"/>
        <a:ext cx="246166" cy="268331"/>
      </dsp:txXfrm>
    </dsp:sp>
    <dsp:sp modelId="{247E2B9C-E135-254E-BCDD-8F0624AEED01}">
      <dsp:nvSpPr>
        <dsp:cNvPr id="0" name=""/>
        <dsp:cNvSpPr/>
      </dsp:nvSpPr>
      <dsp:spPr>
        <a:xfrm>
          <a:off x="3655411" y="1406400"/>
          <a:ext cx="1325093" cy="1325093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latin typeface="Houschka Head Medium" panose="020F0603020000020003" pitchFamily="34" charset="0"/>
            </a:rPr>
            <a:t>SHOW</a:t>
          </a:r>
          <a:endParaRPr lang="en-CZ" sz="1400" kern="1200">
            <a:latin typeface="Houschka Head Medium" panose="020F0603020000020003" pitchFamily="34" charset="0"/>
          </a:endParaRPr>
        </a:p>
      </dsp:txBody>
      <dsp:txXfrm>
        <a:off x="3849466" y="1600455"/>
        <a:ext cx="936983" cy="936983"/>
      </dsp:txXfrm>
    </dsp:sp>
    <dsp:sp modelId="{670D49BD-1C4D-2545-BBCE-FE5FCC714956}">
      <dsp:nvSpPr>
        <dsp:cNvPr id="0" name=""/>
        <dsp:cNvSpPr/>
      </dsp:nvSpPr>
      <dsp:spPr>
        <a:xfrm rot="8100000">
          <a:off x="3446080" y="2541381"/>
          <a:ext cx="351666" cy="44721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alpha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900" kern="1200"/>
        </a:p>
      </dsp:txBody>
      <dsp:txXfrm rot="10800000">
        <a:off x="3536130" y="2593525"/>
        <a:ext cx="246166" cy="268331"/>
      </dsp:txXfrm>
    </dsp:sp>
    <dsp:sp modelId="{16517CE4-19BD-9546-973A-EB219FAF059A}">
      <dsp:nvSpPr>
        <dsp:cNvPr id="0" name=""/>
        <dsp:cNvSpPr/>
      </dsp:nvSpPr>
      <dsp:spPr>
        <a:xfrm>
          <a:off x="2249247" y="2812563"/>
          <a:ext cx="1325093" cy="1325093"/>
        </a:xfrm>
        <a:prstGeom prst="ellipse">
          <a:avLst/>
        </a:prstGeom>
        <a:solidFill>
          <a:schemeClr val="accent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latin typeface="Houschka Head Medium" panose="020F0603020000020003" pitchFamily="34" charset="0"/>
            </a:rPr>
            <a:t>DO</a:t>
          </a:r>
          <a:endParaRPr lang="en-US" sz="1400" kern="1200">
            <a:latin typeface="Houschka Head Medium" panose="020F0603020000020003" pitchFamily="34" charset="0"/>
          </a:endParaRPr>
        </a:p>
      </dsp:txBody>
      <dsp:txXfrm>
        <a:off x="2443302" y="3006618"/>
        <a:ext cx="936983" cy="936983"/>
      </dsp:txXfrm>
    </dsp:sp>
    <dsp:sp modelId="{B850B644-ABE0-504E-8BE4-165B123E4DC9}">
      <dsp:nvSpPr>
        <dsp:cNvPr id="0" name=""/>
        <dsp:cNvSpPr/>
      </dsp:nvSpPr>
      <dsp:spPr>
        <a:xfrm rot="13500000">
          <a:off x="2039916" y="2555457"/>
          <a:ext cx="351666" cy="44721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alpha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900" kern="1200"/>
        </a:p>
      </dsp:txBody>
      <dsp:txXfrm rot="10800000">
        <a:off x="2129966" y="2682201"/>
        <a:ext cx="246166" cy="268331"/>
      </dsp:txXfrm>
    </dsp:sp>
    <dsp:sp modelId="{9DDB9B02-0E11-2E49-A3CB-7C5BF30E73C2}">
      <dsp:nvSpPr>
        <dsp:cNvPr id="0" name=""/>
        <dsp:cNvSpPr/>
      </dsp:nvSpPr>
      <dsp:spPr>
        <a:xfrm>
          <a:off x="843083" y="1406400"/>
          <a:ext cx="1325093" cy="1325093"/>
        </a:xfrm>
        <a:prstGeom prst="ellipse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latin typeface="Houschka Head Medium" panose="020F0603020000020003" pitchFamily="34" charset="0"/>
            </a:rPr>
            <a:t>REPEAT</a:t>
          </a:r>
          <a:endParaRPr lang="en-CZ" sz="1400" kern="1200">
            <a:latin typeface="Houschka Head Medium" panose="020F0603020000020003" pitchFamily="34" charset="0"/>
          </a:endParaRPr>
        </a:p>
      </dsp:txBody>
      <dsp:txXfrm>
        <a:off x="1037138" y="1600455"/>
        <a:ext cx="936983" cy="936983"/>
      </dsp:txXfrm>
    </dsp:sp>
    <dsp:sp modelId="{551BF998-0B5F-C243-A124-894000763EE9}">
      <dsp:nvSpPr>
        <dsp:cNvPr id="0" name=""/>
        <dsp:cNvSpPr/>
      </dsp:nvSpPr>
      <dsp:spPr>
        <a:xfrm rot="18900000">
          <a:off x="2025841" y="1149293"/>
          <a:ext cx="351666" cy="44721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alpha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900" kern="1200"/>
        </a:p>
      </dsp:txBody>
      <dsp:txXfrm>
        <a:off x="2041291" y="1276037"/>
        <a:ext cx="246166" cy="26833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40EC17D6-A2A1-F64F-9856-71BC94E199F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Verdana" panose="020B0604030504040204" pitchFamily="34" charset="0"/>
            </a:endParaRP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FCA2BBFA-2A67-8B40-97BE-E2613C93325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25277A-6500-344E-826C-31A32BC2B1D0}" type="datetimeFigureOut">
              <a:rPr lang="en-GB" smtClean="0">
                <a:latin typeface="Verdana" panose="020B0604030504040204" pitchFamily="34" charset="0"/>
              </a:rPr>
              <a:t>11/10/2024</a:t>
            </a:fld>
            <a:endParaRPr lang="en-GB">
              <a:latin typeface="Verdana" panose="020B060403050404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70CE7F95-254F-204C-916A-B288E76B9E1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Verdana" panose="020B060403050404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AC6E65B-E1F7-4744-842E-139DECC813C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740451-4669-C14D-9170-7EEAEB25B130}" type="slidenum">
              <a:rPr lang="en-GB" smtClean="0">
                <a:latin typeface="Verdana" panose="020B0604030504040204" pitchFamily="34" charset="0"/>
              </a:rPr>
              <a:t>‹#›</a:t>
            </a:fld>
            <a:endParaRPr lang="en-GB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33298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Verdana" panose="020B0604030504040204" pitchFamily="34" charset="0"/>
            </a:endParaRPr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9BD3EA-3DAB-2444-80BA-B92467A90028}" type="datetimeFigureOut">
              <a:rPr lang="en-GB" smtClean="0">
                <a:latin typeface="Verdana" panose="020B0604030504040204" pitchFamily="34" charset="0"/>
              </a:rPr>
              <a:t>11/10/2024</a:t>
            </a:fld>
            <a:endParaRPr lang="en-GB">
              <a:latin typeface="Verdana" panose="020B0604030504040204" pitchFamily="34" charset="0"/>
            </a:endParaRPr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>
              <a:latin typeface="Verdana" panose="020B0604030504040204" pitchFamily="34" charset="0"/>
            </a:endParaRPr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Verdana" panose="020B0604030504040204" pitchFamily="34" charset="0"/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60EC31-3B33-E74F-A380-6BEE09408E69}" type="slidenum">
              <a:rPr lang="en-GB" smtClean="0">
                <a:latin typeface="Verdana" panose="020B0604030504040204" pitchFamily="34" charset="0"/>
              </a:rPr>
              <a:t>‹#›</a:t>
            </a:fld>
            <a:endParaRPr lang="en-GB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17858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  <a:sym typeface="Verdana" panose="020B060403050404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Verdana" panose="020B0604030504040204" pitchFamily="34" charset="0"/>
        <a:ea typeface="+mn-ea"/>
        <a:cs typeface="+mn-cs"/>
        <a:sym typeface="Verdana" panose="020B060403050404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&lt;Lauren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60EC31-3B33-E74F-A380-6BEE09408E6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6609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6F0E50-6D56-402E-9DBC-FDCCEF42440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7649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360EC31-3B33-E74F-A380-6BEE09408E69}" type="slidenum">
              <a:rPr lang="en-GB" smtClean="0">
                <a:latin typeface="Verdana" panose="020B0604030504040204" pitchFamily="34" charset="0"/>
              </a:rPr>
              <a:t>3</a:t>
            </a:fld>
            <a:endParaRPr lang="en-GB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05379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svg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9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5.xml"/><Relationship Id="rId4" Type="http://schemas.openxmlformats.org/officeDocument/2006/relationships/image" Target="../media/image4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1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sv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svg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svg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1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5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1.xml"/><Relationship Id="rId4" Type="http://schemas.openxmlformats.org/officeDocument/2006/relationships/image" Target="../media/image4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2.xml"/><Relationship Id="rId4" Type="http://schemas.openxmlformats.org/officeDocument/2006/relationships/image" Target="../media/image4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3.xml"/><Relationship Id="rId4" Type="http://schemas.openxmlformats.org/officeDocument/2006/relationships/image" Target="../media/image4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4.xml"/><Relationship Id="rId4" Type="http://schemas.openxmlformats.org/officeDocument/2006/relationships/image" Target="../media/image4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5.xml"/><Relationship Id="rId4" Type="http://schemas.openxmlformats.org/officeDocument/2006/relationships/image" Target="../media/image4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6.xml"/><Relationship Id="rId4" Type="http://schemas.openxmlformats.org/officeDocument/2006/relationships/image" Target="../media/image4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7.xml"/><Relationship Id="rId4" Type="http://schemas.openxmlformats.org/officeDocument/2006/relationships/image" Target="../media/image4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4.emf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0.xml"/><Relationship Id="rId4" Type="http://schemas.openxmlformats.org/officeDocument/2006/relationships/image" Target="../media/image4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1.xml"/><Relationship Id="rId4" Type="http://schemas.openxmlformats.org/officeDocument/2006/relationships/image" Target="../media/image4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2.xml"/><Relationship Id="rId4" Type="http://schemas.openxmlformats.org/officeDocument/2006/relationships/image" Target="../media/image4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4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5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5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5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1.xml"/><Relationship Id="rId4" Type="http://schemas.openxmlformats.org/officeDocument/2006/relationships/image" Target="../media/image4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2.xml"/><Relationship Id="rId4" Type="http://schemas.openxmlformats.org/officeDocument/2006/relationships/image" Target="../media/image4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3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4.xml"/><Relationship Id="rId4" Type="http://schemas.openxmlformats.org/officeDocument/2006/relationships/image" Target="../media/image4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5.xml"/><Relationship Id="rId4" Type="http://schemas.openxmlformats.org/officeDocument/2006/relationships/image" Target="../media/image4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6.xml"/><Relationship Id="rId4" Type="http://schemas.openxmlformats.org/officeDocument/2006/relationships/image" Target="../media/image4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7.xml"/><Relationship Id="rId4" Type="http://schemas.openxmlformats.org/officeDocument/2006/relationships/image" Target="../media/image4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svg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svg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svg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svg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svg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8.svg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8.svg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svg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svg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svg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svg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svg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svg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svg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svg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6" Type="http://schemas.openxmlformats.org/officeDocument/2006/relationships/image" Target="../media/image1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svg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8.svg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4.emf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svg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8.svg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8.svg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8.xml"/><Relationship Id="rId4" Type="http://schemas.openxmlformats.org/officeDocument/2006/relationships/image" Target="../media/image4.emf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9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sv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sv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4" Type="http://schemas.openxmlformats.org/officeDocument/2006/relationships/image" Target="../media/image4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4" Type="http://schemas.openxmlformats.org/officeDocument/2006/relationships/image" Target="../media/image4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4" Type="http://schemas.openxmlformats.org/officeDocument/2006/relationships/image" Target="../media/image4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4" Type="http://schemas.openxmlformats.org/officeDocument/2006/relationships/image" Target="../media/image4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sv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sv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4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sv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1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sv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sv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sv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svg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7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8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5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6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7.xml"/><Relationship Id="rId6" Type="http://schemas.openxmlformats.org/officeDocument/2006/relationships/image" Target="../media/image15.svg"/><Relationship Id="rId5" Type="http://schemas.openxmlformats.org/officeDocument/2006/relationships/image" Target="../media/image2.png"/><Relationship Id="rId4" Type="http://schemas.openxmlformats.org/officeDocument/2006/relationships/image" Target="../media/image4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8.xml"/><Relationship Id="rId4" Type="http://schemas.openxmlformats.org/officeDocument/2006/relationships/image" Target="../media/image4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2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3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3.xml"/><Relationship Id="rId4" Type="http://schemas.openxmlformats.org/officeDocument/2006/relationships/image" Target="../media/image4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5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6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6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7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2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background imag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6EEC91-FAE8-4ABD-9FB4-C659BE817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0315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6EEC91-FAE8-4ABD-9FB4-C659BE817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>
            <a:extLst>
              <a:ext uri="{FF2B5EF4-FFF2-40B4-BE49-F238E27FC236}">
                <a16:creationId xmlns:a16="http://schemas.microsoft.com/office/drawing/2014/main" id="{588F6A14-7494-EC4A-867C-864E07DD2DF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500" y="532355"/>
            <a:ext cx="2412941" cy="591595"/>
          </a:xfrm>
          <a:prstGeom prst="rect">
            <a:avLst/>
          </a:prstGeom>
        </p:spPr>
      </p:pic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E606FEF5-DCE1-1A4A-9F62-0F477AF406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734050"/>
            <a:ext cx="9144000" cy="674688"/>
          </a:xfrm>
          <a:prstGeom prst="rect">
            <a:avLst/>
          </a:prstGeom>
        </p:spPr>
        <p:txBody>
          <a:bodyPr/>
          <a:lstStyle>
            <a:lvl1pPr algn="ctr">
              <a:lnSpc>
                <a:spcPct val="140000"/>
              </a:lnSpc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  <a:lvl2pPr algn="ctr">
              <a:buFontTx/>
              <a:buNone/>
              <a:defRPr sz="1200">
                <a:solidFill>
                  <a:schemeClr val="bg1"/>
                </a:solidFill>
              </a:defRPr>
            </a:lvl2pPr>
            <a:lvl3pPr algn="ctr">
              <a:buFontTx/>
              <a:buNone/>
              <a:defRPr sz="1200">
                <a:solidFill>
                  <a:schemeClr val="bg1"/>
                </a:solidFill>
              </a:defRPr>
            </a:lvl3pPr>
            <a:lvl4pPr algn="ctr">
              <a:buFontTx/>
              <a:buNone/>
              <a:defRPr sz="1200">
                <a:solidFill>
                  <a:schemeClr val="bg1"/>
                </a:solidFill>
              </a:defRPr>
            </a:lvl4pPr>
            <a:lvl5pPr algn="ctr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err="1"/>
              <a:t>Name</a:t>
            </a:r>
            <a:r>
              <a:rPr lang="es-ES"/>
              <a:t> </a:t>
            </a:r>
            <a:br>
              <a:rPr lang="es-ES"/>
            </a:br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5AA3C8B9-7162-4D6C-AA6C-7DFFC38AFC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83711" y="2732092"/>
            <a:ext cx="6238755" cy="636702"/>
          </a:xfrm>
          <a:prstGeom prst="rect">
            <a:avLst/>
          </a:prstGeom>
        </p:spPr>
        <p:txBody>
          <a:bodyPr anchor="t"/>
          <a:lstStyle>
            <a:lvl1pPr algn="ctr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s-ES" err="1"/>
              <a:t>Presentation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goes</a:t>
            </a:r>
            <a:r>
              <a:rPr lang="es-ES"/>
              <a:t> </a:t>
            </a:r>
            <a:r>
              <a:rPr lang="es-ES" err="1"/>
              <a:t>here</a:t>
            </a:r>
            <a:endParaRPr lang="es-ES"/>
          </a:p>
        </p:txBody>
      </p:sp>
      <p:sp>
        <p:nvSpPr>
          <p:cNvPr id="17" name="Subtítulo 2">
            <a:extLst>
              <a:ext uri="{FF2B5EF4-FFF2-40B4-BE49-F238E27FC236}">
                <a16:creationId xmlns:a16="http://schemas.microsoft.com/office/drawing/2014/main" id="{F7F45ABA-7AD5-4391-BDBF-13DC6FEFD2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83711" y="4004617"/>
            <a:ext cx="6238755" cy="814028"/>
          </a:xfrm>
          <a:prstGeom prst="rect">
            <a:avLst/>
          </a:prstGeom>
        </p:spPr>
        <p:txBody>
          <a:bodyPr anchor="t"/>
          <a:lstStyle>
            <a:lvl1pPr marL="0" indent="0" algn="ctr">
              <a:lnSpc>
                <a:spcPct val="100000"/>
              </a:lnSpc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Subtitle </a:t>
            </a:r>
            <a:r>
              <a:rPr lang="es-ES" err="1"/>
              <a:t>goes</a:t>
            </a:r>
            <a:r>
              <a:rPr lang="es-ES"/>
              <a:t> </a:t>
            </a:r>
            <a:r>
              <a:rPr lang="es-ES" err="1"/>
              <a:t>here</a:t>
            </a:r>
            <a:endParaRPr lang="es-E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C24311-C508-4FED-A5FF-8174CD29AB87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5E17B1-02F9-48D4-A41F-3422540FB532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5D916A-C8A3-4D83-A1D8-43FA1FFE01B4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0734FD-1D08-4912-B129-5E758BECB952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304781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ransition slide B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1011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4B4FC7D-4393-4A68-A6C5-568B02850E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4116" y="1592263"/>
            <a:ext cx="5148261" cy="2334072"/>
          </a:xfrm>
        </p:spPr>
        <p:txBody>
          <a:bodyPr anchor="b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7DF24BF0-C3D8-4A33-9A94-03CE8CC973C2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104116" y="4093103"/>
            <a:ext cx="5148261" cy="171238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4" name="CuadroTexto 64">
            <a:extLst>
              <a:ext uri="{FF2B5EF4-FFF2-40B4-BE49-F238E27FC236}">
                <a16:creationId xmlns:a16="http://schemas.microsoft.com/office/drawing/2014/main" id="{CC2249F8-C077-487B-9BA3-4B911902A356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Marcador de posición de imagen 2">
            <a:extLst>
              <a:ext uri="{FF2B5EF4-FFF2-40B4-BE49-F238E27FC236}">
                <a16:creationId xmlns:a16="http://schemas.microsoft.com/office/drawing/2014/main" id="{6263FEED-8F20-45B8-9E35-81955D234A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9663" y="-7891"/>
            <a:ext cx="6113779" cy="6873015"/>
          </a:xfrm>
          <a:custGeom>
            <a:avLst/>
            <a:gdLst>
              <a:gd name="connsiteX0" fmla="*/ 0 w 4672405"/>
              <a:gd name="connsiteY0" fmla="*/ 0 h 6858000"/>
              <a:gd name="connsiteX1" fmla="*/ 4672405 w 4672405"/>
              <a:gd name="connsiteY1" fmla="*/ 0 h 6858000"/>
              <a:gd name="connsiteX2" fmla="*/ 4672405 w 4672405"/>
              <a:gd name="connsiteY2" fmla="*/ 6858000 h 6858000"/>
              <a:gd name="connsiteX3" fmla="*/ 0 w 4672405"/>
              <a:gd name="connsiteY3" fmla="*/ 6858000 h 6858000"/>
              <a:gd name="connsiteX4" fmla="*/ 0 w 4672405"/>
              <a:gd name="connsiteY4" fmla="*/ 0 h 6858000"/>
              <a:gd name="connsiteX0" fmla="*/ 0 w 4672405"/>
              <a:gd name="connsiteY0" fmla="*/ 0 h 6860046"/>
              <a:gd name="connsiteX1" fmla="*/ 4672405 w 4672405"/>
              <a:gd name="connsiteY1" fmla="*/ 0 h 6860046"/>
              <a:gd name="connsiteX2" fmla="*/ 2080582 w 4672405"/>
              <a:gd name="connsiteY2" fmla="*/ 6860046 h 6860046"/>
              <a:gd name="connsiteX3" fmla="*/ 0 w 4672405"/>
              <a:gd name="connsiteY3" fmla="*/ 6858000 h 6860046"/>
              <a:gd name="connsiteX4" fmla="*/ 0 w 4672405"/>
              <a:gd name="connsiteY4" fmla="*/ 0 h 6860046"/>
              <a:gd name="connsiteX0" fmla="*/ 0 w 4193499"/>
              <a:gd name="connsiteY0" fmla="*/ 0 h 6860046"/>
              <a:gd name="connsiteX1" fmla="*/ 4193499 w 4193499"/>
              <a:gd name="connsiteY1" fmla="*/ 1270943 h 6860046"/>
              <a:gd name="connsiteX2" fmla="*/ 2080582 w 4193499"/>
              <a:gd name="connsiteY2" fmla="*/ 6860046 h 6860046"/>
              <a:gd name="connsiteX3" fmla="*/ 0 w 4193499"/>
              <a:gd name="connsiteY3" fmla="*/ 6858000 h 6860046"/>
              <a:gd name="connsiteX4" fmla="*/ 0 w 4193499"/>
              <a:gd name="connsiteY4" fmla="*/ 0 h 6860046"/>
              <a:gd name="connsiteX0" fmla="*/ 0 w 4193499"/>
              <a:gd name="connsiteY0" fmla="*/ 24560 h 5589103"/>
              <a:gd name="connsiteX1" fmla="*/ 4193499 w 4193499"/>
              <a:gd name="connsiteY1" fmla="*/ 0 h 5589103"/>
              <a:gd name="connsiteX2" fmla="*/ 2080582 w 4193499"/>
              <a:gd name="connsiteY2" fmla="*/ 5589103 h 5589103"/>
              <a:gd name="connsiteX3" fmla="*/ 0 w 4193499"/>
              <a:gd name="connsiteY3" fmla="*/ 5587057 h 5589103"/>
              <a:gd name="connsiteX4" fmla="*/ 0 w 4193499"/>
              <a:gd name="connsiteY4" fmla="*/ 24560 h 5589103"/>
              <a:gd name="connsiteX0" fmla="*/ 0 w 4201685"/>
              <a:gd name="connsiteY0" fmla="*/ 1 h 5564544"/>
              <a:gd name="connsiteX1" fmla="*/ 4201685 w 4201685"/>
              <a:gd name="connsiteY1" fmla="*/ 0 h 5564544"/>
              <a:gd name="connsiteX2" fmla="*/ 2080582 w 4201685"/>
              <a:gd name="connsiteY2" fmla="*/ 5564544 h 5564544"/>
              <a:gd name="connsiteX3" fmla="*/ 0 w 4201685"/>
              <a:gd name="connsiteY3" fmla="*/ 5562498 h 5564544"/>
              <a:gd name="connsiteX4" fmla="*/ 0 w 4201685"/>
              <a:gd name="connsiteY4" fmla="*/ 1 h 5564544"/>
              <a:gd name="connsiteX0" fmla="*/ 712220 w 4913905"/>
              <a:gd name="connsiteY0" fmla="*/ 1 h 5564544"/>
              <a:gd name="connsiteX1" fmla="*/ 4913905 w 4913905"/>
              <a:gd name="connsiteY1" fmla="*/ 0 h 5564544"/>
              <a:gd name="connsiteX2" fmla="*/ 2792802 w 4913905"/>
              <a:gd name="connsiteY2" fmla="*/ 5564544 h 5564544"/>
              <a:gd name="connsiteX3" fmla="*/ 0 w 4913905"/>
              <a:gd name="connsiteY3" fmla="*/ 5533846 h 5564544"/>
              <a:gd name="connsiteX4" fmla="*/ 712220 w 4913905"/>
              <a:gd name="connsiteY4" fmla="*/ 1 h 5564544"/>
              <a:gd name="connsiteX0" fmla="*/ 712220 w 4913905"/>
              <a:gd name="connsiteY0" fmla="*/ 1 h 5533846"/>
              <a:gd name="connsiteX1" fmla="*/ 4913905 w 4913905"/>
              <a:gd name="connsiteY1" fmla="*/ 0 h 5533846"/>
              <a:gd name="connsiteX2" fmla="*/ 2813269 w 4913905"/>
              <a:gd name="connsiteY2" fmla="*/ 5523612 h 5533846"/>
              <a:gd name="connsiteX3" fmla="*/ 0 w 4913905"/>
              <a:gd name="connsiteY3" fmla="*/ 5533846 h 5533846"/>
              <a:gd name="connsiteX4" fmla="*/ 712220 w 4913905"/>
              <a:gd name="connsiteY4" fmla="*/ 1 h 5533846"/>
              <a:gd name="connsiteX0" fmla="*/ 1 w 4913905"/>
              <a:gd name="connsiteY0" fmla="*/ 1 h 5533846"/>
              <a:gd name="connsiteX1" fmla="*/ 4913905 w 4913905"/>
              <a:gd name="connsiteY1" fmla="*/ 0 h 5533846"/>
              <a:gd name="connsiteX2" fmla="*/ 2813269 w 4913905"/>
              <a:gd name="connsiteY2" fmla="*/ 5523612 h 5533846"/>
              <a:gd name="connsiteX3" fmla="*/ 0 w 4913905"/>
              <a:gd name="connsiteY3" fmla="*/ 5533846 h 5533846"/>
              <a:gd name="connsiteX4" fmla="*/ 1 w 4913905"/>
              <a:gd name="connsiteY4" fmla="*/ 1 h 5533846"/>
              <a:gd name="connsiteX0" fmla="*/ 1 w 4913905"/>
              <a:gd name="connsiteY0" fmla="*/ 1 h 5523612"/>
              <a:gd name="connsiteX1" fmla="*/ 4913905 w 4913905"/>
              <a:gd name="connsiteY1" fmla="*/ 0 h 5523612"/>
              <a:gd name="connsiteX2" fmla="*/ 2813269 w 4913905"/>
              <a:gd name="connsiteY2" fmla="*/ 5523612 h 5523612"/>
              <a:gd name="connsiteX3" fmla="*/ 0 w 4913905"/>
              <a:gd name="connsiteY3" fmla="*/ 5521566 h 5523612"/>
              <a:gd name="connsiteX4" fmla="*/ 1 w 4913905"/>
              <a:gd name="connsiteY4" fmla="*/ 1 h 5523612"/>
              <a:gd name="connsiteX0" fmla="*/ 1 w 4913905"/>
              <a:gd name="connsiteY0" fmla="*/ 1 h 5521566"/>
              <a:gd name="connsiteX1" fmla="*/ 4913905 w 4913905"/>
              <a:gd name="connsiteY1" fmla="*/ 0 h 5521566"/>
              <a:gd name="connsiteX2" fmla="*/ 2819409 w 4913905"/>
              <a:gd name="connsiteY2" fmla="*/ 5517472 h 5521566"/>
              <a:gd name="connsiteX3" fmla="*/ 0 w 4913905"/>
              <a:gd name="connsiteY3" fmla="*/ 5521566 h 5521566"/>
              <a:gd name="connsiteX4" fmla="*/ 1 w 4913905"/>
              <a:gd name="connsiteY4" fmla="*/ 1 h 5521566"/>
              <a:gd name="connsiteX0" fmla="*/ 8187 w 4922091"/>
              <a:gd name="connsiteY0" fmla="*/ 1 h 5525659"/>
              <a:gd name="connsiteX1" fmla="*/ 4922091 w 4922091"/>
              <a:gd name="connsiteY1" fmla="*/ 0 h 5525659"/>
              <a:gd name="connsiteX2" fmla="*/ 2827595 w 4922091"/>
              <a:gd name="connsiteY2" fmla="*/ 5517472 h 5525659"/>
              <a:gd name="connsiteX3" fmla="*/ 0 w 4922091"/>
              <a:gd name="connsiteY3" fmla="*/ 5525659 h 5525659"/>
              <a:gd name="connsiteX4" fmla="*/ 8187 w 4922091"/>
              <a:gd name="connsiteY4" fmla="*/ 1 h 5525659"/>
              <a:gd name="connsiteX0" fmla="*/ 8187 w 4922091"/>
              <a:gd name="connsiteY0" fmla="*/ 1 h 5525659"/>
              <a:gd name="connsiteX1" fmla="*/ 4922091 w 4922091"/>
              <a:gd name="connsiteY1" fmla="*/ 0 h 5525659"/>
              <a:gd name="connsiteX2" fmla="*/ 2827595 w 4922091"/>
              <a:gd name="connsiteY2" fmla="*/ 5525659 h 5525659"/>
              <a:gd name="connsiteX3" fmla="*/ 0 w 4922091"/>
              <a:gd name="connsiteY3" fmla="*/ 5525659 h 5525659"/>
              <a:gd name="connsiteX4" fmla="*/ 8187 w 4922091"/>
              <a:gd name="connsiteY4" fmla="*/ 1 h 5525659"/>
              <a:gd name="connsiteX0" fmla="*/ 4094 w 4922091"/>
              <a:gd name="connsiteY0" fmla="*/ 0 h 5537938"/>
              <a:gd name="connsiteX1" fmla="*/ 4922091 w 4922091"/>
              <a:gd name="connsiteY1" fmla="*/ 12279 h 5537938"/>
              <a:gd name="connsiteX2" fmla="*/ 2827595 w 4922091"/>
              <a:gd name="connsiteY2" fmla="*/ 5537938 h 5537938"/>
              <a:gd name="connsiteX3" fmla="*/ 0 w 4922091"/>
              <a:gd name="connsiteY3" fmla="*/ 5537938 h 5537938"/>
              <a:gd name="connsiteX4" fmla="*/ 4094 w 4922091"/>
              <a:gd name="connsiteY4" fmla="*/ 0 h 5537938"/>
              <a:gd name="connsiteX0" fmla="*/ 4094 w 4926184"/>
              <a:gd name="connsiteY0" fmla="*/ 1 h 5537939"/>
              <a:gd name="connsiteX1" fmla="*/ 4926184 w 4926184"/>
              <a:gd name="connsiteY1" fmla="*/ 0 h 5537939"/>
              <a:gd name="connsiteX2" fmla="*/ 2827595 w 4926184"/>
              <a:gd name="connsiteY2" fmla="*/ 5537939 h 5537939"/>
              <a:gd name="connsiteX3" fmla="*/ 0 w 4926184"/>
              <a:gd name="connsiteY3" fmla="*/ 5537939 h 5537939"/>
              <a:gd name="connsiteX4" fmla="*/ 4094 w 4926184"/>
              <a:gd name="connsiteY4" fmla="*/ 1 h 5537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26184" h="5537939">
                <a:moveTo>
                  <a:pt x="4094" y="1"/>
                </a:moveTo>
                <a:lnTo>
                  <a:pt x="4926184" y="0"/>
                </a:lnTo>
                <a:lnTo>
                  <a:pt x="2827595" y="5537939"/>
                </a:lnTo>
                <a:lnTo>
                  <a:pt x="0" y="5537939"/>
                </a:lnTo>
                <a:cubicBezTo>
                  <a:pt x="0" y="3693324"/>
                  <a:pt x="4094" y="1844616"/>
                  <a:pt x="4094" y="1"/>
                </a:cubicBez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0C1D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387E680-44F3-47E4-A513-E74FA9C58646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EE3D7A6-1498-4A64-9D2E-3E4F8B3C0DA8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66434CB-3B14-4C6A-AC9E-E59DCB483772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B4F380-0003-491D-9489-207F6C9CEAC0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6085227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-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98AB34B-0EA1-41B1-BF14-0935F045CF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D78C03A2-2EC0-45D4-904B-7A083AB2A0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1592263"/>
            <a:ext cx="6840536" cy="2334072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E4CC69F5-B89D-4B6F-ABCC-61A5439434A3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947739" y="4093103"/>
            <a:ext cx="5148261" cy="171238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AFD6E9-A2D1-4C55-83E4-A2A09B77FD94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611EAAD-686A-497A-927B-6927AB900EBE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0249A9-B43B-4399-A2DA-C6A9E773B8B9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FA29B30-5C70-451B-9B78-DA3C0ED04082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30473697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64">
            <a:extLst>
              <a:ext uri="{FF2B5EF4-FFF2-40B4-BE49-F238E27FC236}">
                <a16:creationId xmlns:a16="http://schemas.microsoft.com/office/drawing/2014/main" id="{F0B7DE41-1599-49B3-93C4-0B3B0875D63D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2029C39-A334-436E-9588-9BAC684EBA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1989000"/>
            <a:ext cx="5722518" cy="2880000"/>
          </a:xfrm>
        </p:spPr>
        <p:txBody>
          <a:bodyPr anchor="ctr" anchorCtr="0"/>
          <a:lstStyle>
            <a:lvl1pPr>
              <a:defRPr sz="360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6CA774E-1021-43B9-A285-055EEA9F4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9037" y="4896548"/>
            <a:ext cx="5721488" cy="360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6" name="Marcador de posición de imagen 2">
            <a:extLst>
              <a:ext uri="{FF2B5EF4-FFF2-40B4-BE49-F238E27FC236}">
                <a16:creationId xmlns:a16="http://schemas.microsoft.com/office/drawing/2014/main" id="{510BC262-CD2D-4FC1-BCF9-1EFA7587255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97" y="2270"/>
            <a:ext cx="6113780" cy="6857775"/>
          </a:xfrm>
          <a:custGeom>
            <a:avLst/>
            <a:gdLst>
              <a:gd name="connsiteX0" fmla="*/ 0 w 4672405"/>
              <a:gd name="connsiteY0" fmla="*/ 0 h 6858000"/>
              <a:gd name="connsiteX1" fmla="*/ 4672405 w 4672405"/>
              <a:gd name="connsiteY1" fmla="*/ 0 h 6858000"/>
              <a:gd name="connsiteX2" fmla="*/ 4672405 w 4672405"/>
              <a:gd name="connsiteY2" fmla="*/ 6858000 h 6858000"/>
              <a:gd name="connsiteX3" fmla="*/ 0 w 4672405"/>
              <a:gd name="connsiteY3" fmla="*/ 6858000 h 6858000"/>
              <a:gd name="connsiteX4" fmla="*/ 0 w 4672405"/>
              <a:gd name="connsiteY4" fmla="*/ 0 h 6858000"/>
              <a:gd name="connsiteX0" fmla="*/ 0 w 4672405"/>
              <a:gd name="connsiteY0" fmla="*/ 0 h 6860046"/>
              <a:gd name="connsiteX1" fmla="*/ 4672405 w 4672405"/>
              <a:gd name="connsiteY1" fmla="*/ 0 h 6860046"/>
              <a:gd name="connsiteX2" fmla="*/ 2080582 w 4672405"/>
              <a:gd name="connsiteY2" fmla="*/ 6860046 h 6860046"/>
              <a:gd name="connsiteX3" fmla="*/ 0 w 4672405"/>
              <a:gd name="connsiteY3" fmla="*/ 6858000 h 6860046"/>
              <a:gd name="connsiteX4" fmla="*/ 0 w 4672405"/>
              <a:gd name="connsiteY4" fmla="*/ 0 h 6860046"/>
              <a:gd name="connsiteX0" fmla="*/ 0 w 4193499"/>
              <a:gd name="connsiteY0" fmla="*/ 0 h 6860046"/>
              <a:gd name="connsiteX1" fmla="*/ 4193499 w 4193499"/>
              <a:gd name="connsiteY1" fmla="*/ 1270943 h 6860046"/>
              <a:gd name="connsiteX2" fmla="*/ 2080582 w 4193499"/>
              <a:gd name="connsiteY2" fmla="*/ 6860046 h 6860046"/>
              <a:gd name="connsiteX3" fmla="*/ 0 w 4193499"/>
              <a:gd name="connsiteY3" fmla="*/ 6858000 h 6860046"/>
              <a:gd name="connsiteX4" fmla="*/ 0 w 4193499"/>
              <a:gd name="connsiteY4" fmla="*/ 0 h 6860046"/>
              <a:gd name="connsiteX0" fmla="*/ 0 w 4193499"/>
              <a:gd name="connsiteY0" fmla="*/ 24560 h 5589103"/>
              <a:gd name="connsiteX1" fmla="*/ 4193499 w 4193499"/>
              <a:gd name="connsiteY1" fmla="*/ 0 h 5589103"/>
              <a:gd name="connsiteX2" fmla="*/ 2080582 w 4193499"/>
              <a:gd name="connsiteY2" fmla="*/ 5589103 h 5589103"/>
              <a:gd name="connsiteX3" fmla="*/ 0 w 4193499"/>
              <a:gd name="connsiteY3" fmla="*/ 5587057 h 5589103"/>
              <a:gd name="connsiteX4" fmla="*/ 0 w 4193499"/>
              <a:gd name="connsiteY4" fmla="*/ 24560 h 5589103"/>
              <a:gd name="connsiteX0" fmla="*/ 0 w 4201685"/>
              <a:gd name="connsiteY0" fmla="*/ 1 h 5564544"/>
              <a:gd name="connsiteX1" fmla="*/ 4201685 w 4201685"/>
              <a:gd name="connsiteY1" fmla="*/ 0 h 5564544"/>
              <a:gd name="connsiteX2" fmla="*/ 2080582 w 4201685"/>
              <a:gd name="connsiteY2" fmla="*/ 5564544 h 5564544"/>
              <a:gd name="connsiteX3" fmla="*/ 0 w 4201685"/>
              <a:gd name="connsiteY3" fmla="*/ 5562498 h 5564544"/>
              <a:gd name="connsiteX4" fmla="*/ 0 w 4201685"/>
              <a:gd name="connsiteY4" fmla="*/ 1 h 5564544"/>
              <a:gd name="connsiteX0" fmla="*/ 712220 w 4913905"/>
              <a:gd name="connsiteY0" fmla="*/ 1 h 5564544"/>
              <a:gd name="connsiteX1" fmla="*/ 4913905 w 4913905"/>
              <a:gd name="connsiteY1" fmla="*/ 0 h 5564544"/>
              <a:gd name="connsiteX2" fmla="*/ 2792802 w 4913905"/>
              <a:gd name="connsiteY2" fmla="*/ 5564544 h 5564544"/>
              <a:gd name="connsiteX3" fmla="*/ 0 w 4913905"/>
              <a:gd name="connsiteY3" fmla="*/ 5533846 h 5564544"/>
              <a:gd name="connsiteX4" fmla="*/ 712220 w 4913905"/>
              <a:gd name="connsiteY4" fmla="*/ 1 h 5564544"/>
              <a:gd name="connsiteX0" fmla="*/ 712220 w 4913905"/>
              <a:gd name="connsiteY0" fmla="*/ 1 h 5533846"/>
              <a:gd name="connsiteX1" fmla="*/ 4913905 w 4913905"/>
              <a:gd name="connsiteY1" fmla="*/ 0 h 5533846"/>
              <a:gd name="connsiteX2" fmla="*/ 2813269 w 4913905"/>
              <a:gd name="connsiteY2" fmla="*/ 5523612 h 5533846"/>
              <a:gd name="connsiteX3" fmla="*/ 0 w 4913905"/>
              <a:gd name="connsiteY3" fmla="*/ 5533846 h 5533846"/>
              <a:gd name="connsiteX4" fmla="*/ 712220 w 4913905"/>
              <a:gd name="connsiteY4" fmla="*/ 1 h 5533846"/>
              <a:gd name="connsiteX0" fmla="*/ 1 w 4913905"/>
              <a:gd name="connsiteY0" fmla="*/ 1 h 5533846"/>
              <a:gd name="connsiteX1" fmla="*/ 4913905 w 4913905"/>
              <a:gd name="connsiteY1" fmla="*/ 0 h 5533846"/>
              <a:gd name="connsiteX2" fmla="*/ 2813269 w 4913905"/>
              <a:gd name="connsiteY2" fmla="*/ 5523612 h 5533846"/>
              <a:gd name="connsiteX3" fmla="*/ 0 w 4913905"/>
              <a:gd name="connsiteY3" fmla="*/ 5533846 h 5533846"/>
              <a:gd name="connsiteX4" fmla="*/ 1 w 4913905"/>
              <a:gd name="connsiteY4" fmla="*/ 1 h 5533846"/>
              <a:gd name="connsiteX0" fmla="*/ 1 w 4913905"/>
              <a:gd name="connsiteY0" fmla="*/ 1 h 5523612"/>
              <a:gd name="connsiteX1" fmla="*/ 4913905 w 4913905"/>
              <a:gd name="connsiteY1" fmla="*/ 0 h 5523612"/>
              <a:gd name="connsiteX2" fmla="*/ 2813269 w 4913905"/>
              <a:gd name="connsiteY2" fmla="*/ 5523612 h 5523612"/>
              <a:gd name="connsiteX3" fmla="*/ 0 w 4913905"/>
              <a:gd name="connsiteY3" fmla="*/ 5521566 h 5523612"/>
              <a:gd name="connsiteX4" fmla="*/ 1 w 4913905"/>
              <a:gd name="connsiteY4" fmla="*/ 1 h 5523612"/>
              <a:gd name="connsiteX0" fmla="*/ 1 w 4913905"/>
              <a:gd name="connsiteY0" fmla="*/ 1 h 5521566"/>
              <a:gd name="connsiteX1" fmla="*/ 4913905 w 4913905"/>
              <a:gd name="connsiteY1" fmla="*/ 0 h 5521566"/>
              <a:gd name="connsiteX2" fmla="*/ 2819409 w 4913905"/>
              <a:gd name="connsiteY2" fmla="*/ 5517472 h 5521566"/>
              <a:gd name="connsiteX3" fmla="*/ 0 w 4913905"/>
              <a:gd name="connsiteY3" fmla="*/ 5521566 h 5521566"/>
              <a:gd name="connsiteX4" fmla="*/ 1 w 4913905"/>
              <a:gd name="connsiteY4" fmla="*/ 1 h 5521566"/>
              <a:gd name="connsiteX0" fmla="*/ 1 w 4926185"/>
              <a:gd name="connsiteY0" fmla="*/ 4094 h 5525659"/>
              <a:gd name="connsiteX1" fmla="*/ 4926185 w 4926185"/>
              <a:gd name="connsiteY1" fmla="*/ 0 h 5525659"/>
              <a:gd name="connsiteX2" fmla="*/ 2819409 w 4926185"/>
              <a:gd name="connsiteY2" fmla="*/ 5521565 h 5525659"/>
              <a:gd name="connsiteX3" fmla="*/ 0 w 4926185"/>
              <a:gd name="connsiteY3" fmla="*/ 5525659 h 5525659"/>
              <a:gd name="connsiteX4" fmla="*/ 1 w 4926185"/>
              <a:gd name="connsiteY4" fmla="*/ 4094 h 5525659"/>
              <a:gd name="connsiteX0" fmla="*/ 1 w 4926185"/>
              <a:gd name="connsiteY0" fmla="*/ 1 h 5525659"/>
              <a:gd name="connsiteX1" fmla="*/ 4926185 w 4926185"/>
              <a:gd name="connsiteY1" fmla="*/ 0 h 5525659"/>
              <a:gd name="connsiteX2" fmla="*/ 2819409 w 4926185"/>
              <a:gd name="connsiteY2" fmla="*/ 5521565 h 5525659"/>
              <a:gd name="connsiteX3" fmla="*/ 0 w 4926185"/>
              <a:gd name="connsiteY3" fmla="*/ 5525659 h 5525659"/>
              <a:gd name="connsiteX4" fmla="*/ 1 w 4926185"/>
              <a:gd name="connsiteY4" fmla="*/ 1 h 5525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26185" h="5525659">
                <a:moveTo>
                  <a:pt x="1" y="1"/>
                </a:moveTo>
                <a:lnTo>
                  <a:pt x="4926185" y="0"/>
                </a:lnTo>
                <a:lnTo>
                  <a:pt x="2819409" y="5521565"/>
                </a:lnTo>
                <a:lnTo>
                  <a:pt x="0" y="5525659"/>
                </a:lnTo>
                <a:cubicBezTo>
                  <a:pt x="0" y="3681044"/>
                  <a:pt x="1" y="1844616"/>
                  <a:pt x="1" y="1"/>
                </a:cubicBez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0C1D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4E0539-9C24-4E5A-9DE9-8AB388D39764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40435C7-9C55-450B-8569-D5205A33B052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5A9DED1-ECD1-4E25-A9F1-B6AF0EF3D3F3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D3AD07D-4D0D-4DC8-A62B-1BD2024ECA1D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46056280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gled image+featured content (left)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0936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4" name="CuadroTexto 64">
            <a:extLst>
              <a:ext uri="{FF2B5EF4-FFF2-40B4-BE49-F238E27FC236}">
                <a16:creationId xmlns:a16="http://schemas.microsoft.com/office/drawing/2014/main" id="{CC2249F8-C077-487B-9BA3-4B911902A356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CuadroTexto 64">
            <a:extLst>
              <a:ext uri="{FF2B5EF4-FFF2-40B4-BE49-F238E27FC236}">
                <a16:creationId xmlns:a16="http://schemas.microsoft.com/office/drawing/2014/main" id="{08E9C9DD-93B5-4058-A8FA-3D88D1252332}"/>
              </a:ext>
            </a:extLst>
          </p:cNvPr>
          <p:cNvSpPr txBox="1"/>
          <p:nvPr userDrawn="1"/>
        </p:nvSpPr>
        <p:spPr>
          <a:xfrm>
            <a:off x="11034703" y="66016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CF8B2027-CADA-4A55-866F-0018F2D74C47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8067556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67CC2087-C2AD-4503-B547-64C2129C73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0" y="252000"/>
            <a:ext cx="8068775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2" descr="Body text will be presented like this">
            <a:extLst>
              <a:ext uri="{FF2B5EF4-FFF2-40B4-BE49-F238E27FC236}">
                <a16:creationId xmlns:a16="http://schemas.microsoft.com/office/drawing/2014/main" id="{01B223B4-02BB-4FF0-8A80-1EAB225C9D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7738" y="1951367"/>
            <a:ext cx="5148262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Marcador de texto 5">
            <a:extLst>
              <a:ext uri="{FF2B5EF4-FFF2-40B4-BE49-F238E27FC236}">
                <a16:creationId xmlns:a16="http://schemas.microsoft.com/office/drawing/2014/main" id="{11953EB9-C648-4B79-853F-4D9A8D37AB2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7738" y="1584167"/>
            <a:ext cx="2628000" cy="23971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16" name="Text Placeholder 12" descr="Body text will be presented like this">
            <a:extLst>
              <a:ext uri="{FF2B5EF4-FFF2-40B4-BE49-F238E27FC236}">
                <a16:creationId xmlns:a16="http://schemas.microsoft.com/office/drawing/2014/main" id="{EB4ED9F0-E546-4459-8513-5347A1A90C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7738" y="3495142"/>
            <a:ext cx="5148262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texto 5">
            <a:extLst>
              <a:ext uri="{FF2B5EF4-FFF2-40B4-BE49-F238E27FC236}">
                <a16:creationId xmlns:a16="http://schemas.microsoft.com/office/drawing/2014/main" id="{2003E94C-F30A-4344-AE01-6B928467B6F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7738" y="3127942"/>
            <a:ext cx="2628000" cy="23971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18" name="Text Placeholder 12" descr="Body text will be presented like this">
            <a:extLst>
              <a:ext uri="{FF2B5EF4-FFF2-40B4-BE49-F238E27FC236}">
                <a16:creationId xmlns:a16="http://schemas.microsoft.com/office/drawing/2014/main" id="{ABCB863E-CD12-4AE9-AE7D-E5C529E9115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7738" y="5038917"/>
            <a:ext cx="5148262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texto 5">
            <a:extLst>
              <a:ext uri="{FF2B5EF4-FFF2-40B4-BE49-F238E27FC236}">
                <a16:creationId xmlns:a16="http://schemas.microsoft.com/office/drawing/2014/main" id="{F0FC943F-19E3-40EB-A742-E957821227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47738" y="4671717"/>
            <a:ext cx="2628000" cy="23971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pic>
        <p:nvPicPr>
          <p:cNvPr id="20" name="Graphic 10">
            <a:extLst>
              <a:ext uri="{FF2B5EF4-FFF2-40B4-BE49-F238E27FC236}">
                <a16:creationId xmlns:a16="http://schemas.microsoft.com/office/drawing/2014/main" id="{35F9E0C5-8FB9-4FF5-B107-1BFE331BD34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1" name="Marcador de posición de imagen 2">
            <a:extLst>
              <a:ext uri="{FF2B5EF4-FFF2-40B4-BE49-F238E27FC236}">
                <a16:creationId xmlns:a16="http://schemas.microsoft.com/office/drawing/2014/main" id="{9D2999F6-7E2A-41F3-97C5-28E6F6F4EDC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38529" y="-14050"/>
            <a:ext cx="5670915" cy="6877222"/>
          </a:xfrm>
          <a:custGeom>
            <a:avLst/>
            <a:gdLst>
              <a:gd name="connsiteX0" fmla="*/ 0 w 4592124"/>
              <a:gd name="connsiteY0" fmla="*/ 0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0 w 4592124"/>
              <a:gd name="connsiteY4" fmla="*/ 0 h 6858000"/>
              <a:gd name="connsiteX0" fmla="*/ 2549525 w 4592124"/>
              <a:gd name="connsiteY0" fmla="*/ 1058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2549525 w 4592124"/>
              <a:gd name="connsiteY4" fmla="*/ 1058 h 6858000"/>
              <a:gd name="connsiteX0" fmla="*/ 2549525 w 4592124"/>
              <a:gd name="connsiteY0" fmla="*/ 0 h 6856942"/>
              <a:gd name="connsiteX1" fmla="*/ 4592124 w 4592124"/>
              <a:gd name="connsiteY1" fmla="*/ 1371762 h 6856942"/>
              <a:gd name="connsiteX2" fmla="*/ 4592124 w 4592124"/>
              <a:gd name="connsiteY2" fmla="*/ 6856942 h 6856942"/>
              <a:gd name="connsiteX3" fmla="*/ 0 w 4592124"/>
              <a:gd name="connsiteY3" fmla="*/ 6856942 h 6856942"/>
              <a:gd name="connsiteX4" fmla="*/ 2549525 w 4592124"/>
              <a:gd name="connsiteY4" fmla="*/ 0 h 6856942"/>
              <a:gd name="connsiteX0" fmla="*/ 2045812 w 4592124"/>
              <a:gd name="connsiteY0" fmla="*/ 1058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45812 w 4592124"/>
              <a:gd name="connsiteY4" fmla="*/ 1058 h 5485180"/>
              <a:gd name="connsiteX0" fmla="*/ 2028628 w 4592124"/>
              <a:gd name="connsiteY0" fmla="*/ 36027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28628 w 4592124"/>
              <a:gd name="connsiteY4" fmla="*/ 36027 h 5485180"/>
              <a:gd name="connsiteX0" fmla="*/ 2028628 w 4592124"/>
              <a:gd name="connsiteY0" fmla="*/ 4509 h 5453662"/>
              <a:gd name="connsiteX1" fmla="*/ 4568296 w 4592124"/>
              <a:gd name="connsiteY1" fmla="*/ 0 h 5453662"/>
              <a:gd name="connsiteX2" fmla="*/ 4592124 w 4592124"/>
              <a:gd name="connsiteY2" fmla="*/ 5453662 h 5453662"/>
              <a:gd name="connsiteX3" fmla="*/ 0 w 4592124"/>
              <a:gd name="connsiteY3" fmla="*/ 5453662 h 5453662"/>
              <a:gd name="connsiteX4" fmla="*/ 2028628 w 4592124"/>
              <a:gd name="connsiteY4" fmla="*/ 4509 h 5453662"/>
              <a:gd name="connsiteX0" fmla="*/ 2028628 w 4743341"/>
              <a:gd name="connsiteY0" fmla="*/ 4509 h 5460656"/>
              <a:gd name="connsiteX1" fmla="*/ 4568296 w 4743341"/>
              <a:gd name="connsiteY1" fmla="*/ 0 h 5460656"/>
              <a:gd name="connsiteX2" fmla="*/ 4743341 w 4743341"/>
              <a:gd name="connsiteY2" fmla="*/ 5460656 h 5460656"/>
              <a:gd name="connsiteX3" fmla="*/ 0 w 4743341"/>
              <a:gd name="connsiteY3" fmla="*/ 5453662 h 5460656"/>
              <a:gd name="connsiteX4" fmla="*/ 2028628 w 4743341"/>
              <a:gd name="connsiteY4" fmla="*/ 4509 h 5460656"/>
              <a:gd name="connsiteX0" fmla="*/ 2028628 w 4760755"/>
              <a:gd name="connsiteY0" fmla="*/ 4509 h 5460656"/>
              <a:gd name="connsiteX1" fmla="*/ 4760755 w 4760755"/>
              <a:gd name="connsiteY1" fmla="*/ 0 h 5460656"/>
              <a:gd name="connsiteX2" fmla="*/ 4743341 w 4760755"/>
              <a:gd name="connsiteY2" fmla="*/ 5460656 h 5460656"/>
              <a:gd name="connsiteX3" fmla="*/ 0 w 4760755"/>
              <a:gd name="connsiteY3" fmla="*/ 5453662 h 5460656"/>
              <a:gd name="connsiteX4" fmla="*/ 2028628 w 4760755"/>
              <a:gd name="connsiteY4" fmla="*/ 4509 h 5460656"/>
              <a:gd name="connsiteX0" fmla="*/ 2042201 w 4774328"/>
              <a:gd name="connsiteY0" fmla="*/ 4509 h 5467473"/>
              <a:gd name="connsiteX1" fmla="*/ 4774328 w 4774328"/>
              <a:gd name="connsiteY1" fmla="*/ 0 h 5467473"/>
              <a:gd name="connsiteX2" fmla="*/ 4756914 w 4774328"/>
              <a:gd name="connsiteY2" fmla="*/ 5460656 h 5467473"/>
              <a:gd name="connsiteX3" fmla="*/ 0 w 4774328"/>
              <a:gd name="connsiteY3" fmla="*/ 5467473 h 5467473"/>
              <a:gd name="connsiteX4" fmla="*/ 2042201 w 4774328"/>
              <a:gd name="connsiteY4" fmla="*/ 4509 h 5467473"/>
              <a:gd name="connsiteX0" fmla="*/ 2042201 w 4774328"/>
              <a:gd name="connsiteY0" fmla="*/ 4509 h 5474466"/>
              <a:gd name="connsiteX1" fmla="*/ 4774328 w 4774328"/>
              <a:gd name="connsiteY1" fmla="*/ 0 h 5474466"/>
              <a:gd name="connsiteX2" fmla="*/ 4765962 w 4774328"/>
              <a:gd name="connsiteY2" fmla="*/ 5474466 h 5474466"/>
              <a:gd name="connsiteX3" fmla="*/ 0 w 4774328"/>
              <a:gd name="connsiteY3" fmla="*/ 5467473 h 5474466"/>
              <a:gd name="connsiteX4" fmla="*/ 2042201 w 4774328"/>
              <a:gd name="connsiteY4" fmla="*/ 4509 h 5474466"/>
              <a:gd name="connsiteX0" fmla="*/ 2042201 w 4778853"/>
              <a:gd name="connsiteY0" fmla="*/ 0 h 5469957"/>
              <a:gd name="connsiteX1" fmla="*/ 4778853 w 4778853"/>
              <a:gd name="connsiteY1" fmla="*/ 4698 h 5469957"/>
              <a:gd name="connsiteX2" fmla="*/ 4765962 w 4778853"/>
              <a:gd name="connsiteY2" fmla="*/ 5469957 h 5469957"/>
              <a:gd name="connsiteX3" fmla="*/ 0 w 4778853"/>
              <a:gd name="connsiteY3" fmla="*/ 5462964 h 5469957"/>
              <a:gd name="connsiteX4" fmla="*/ 2042201 w 4778853"/>
              <a:gd name="connsiteY4" fmla="*/ 0 h 5469957"/>
              <a:gd name="connsiteX0" fmla="*/ 2042201 w 4781135"/>
              <a:gd name="connsiteY0" fmla="*/ 0 h 5462964"/>
              <a:gd name="connsiteX1" fmla="*/ 4778853 w 4781135"/>
              <a:gd name="connsiteY1" fmla="*/ 4698 h 5462964"/>
              <a:gd name="connsiteX2" fmla="*/ 4779535 w 4781135"/>
              <a:gd name="connsiteY2" fmla="*/ 5460751 h 5462964"/>
              <a:gd name="connsiteX3" fmla="*/ 0 w 4781135"/>
              <a:gd name="connsiteY3" fmla="*/ 5462964 h 5462964"/>
              <a:gd name="connsiteX4" fmla="*/ 2042201 w 4781135"/>
              <a:gd name="connsiteY4" fmla="*/ 0 h 5462964"/>
              <a:gd name="connsiteX0" fmla="*/ 2046725 w 4781135"/>
              <a:gd name="connsiteY0" fmla="*/ 0 h 5467567"/>
              <a:gd name="connsiteX1" fmla="*/ 4778853 w 4781135"/>
              <a:gd name="connsiteY1" fmla="*/ 9301 h 5467567"/>
              <a:gd name="connsiteX2" fmla="*/ 4779535 w 4781135"/>
              <a:gd name="connsiteY2" fmla="*/ 5465354 h 5467567"/>
              <a:gd name="connsiteX3" fmla="*/ 0 w 4781135"/>
              <a:gd name="connsiteY3" fmla="*/ 5467567 h 5467567"/>
              <a:gd name="connsiteX4" fmla="*/ 2046725 w 4781135"/>
              <a:gd name="connsiteY4" fmla="*/ 0 h 5467567"/>
              <a:gd name="connsiteX0" fmla="*/ 2046725 w 4779604"/>
              <a:gd name="connsiteY0" fmla="*/ 2821 h 5470388"/>
              <a:gd name="connsiteX1" fmla="*/ 4433343 w 4779604"/>
              <a:gd name="connsiteY1" fmla="*/ 0 h 5470388"/>
              <a:gd name="connsiteX2" fmla="*/ 4779535 w 4779604"/>
              <a:gd name="connsiteY2" fmla="*/ 5468175 h 5470388"/>
              <a:gd name="connsiteX3" fmla="*/ 0 w 4779604"/>
              <a:gd name="connsiteY3" fmla="*/ 5470388 h 5470388"/>
              <a:gd name="connsiteX4" fmla="*/ 2046725 w 4779604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3343" h="5470388">
                <a:moveTo>
                  <a:pt x="2046725" y="2821"/>
                </a:moveTo>
                <a:lnTo>
                  <a:pt x="4433343" y="0"/>
                </a:lnTo>
                <a:cubicBezTo>
                  <a:pt x="4427538" y="1820219"/>
                  <a:pt x="4431887" y="3647956"/>
                  <a:pt x="4426082" y="5468175"/>
                </a:cubicBezTo>
                <a:lnTo>
                  <a:pt x="0" y="5470388"/>
                </a:lnTo>
                <a:lnTo>
                  <a:pt x="2046725" y="2821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D0DFB76-E40E-4BC4-B5DC-DCD645ACC8BF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6432175-90E4-40EE-B292-F80AF0363540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691BC1F-8BED-4FA8-94A8-E07ADD007964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9B1766B-1A6C-4A98-B489-8781DE0A150C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32757609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3107E2-3D7C-4EA6-A3AE-B45AC3CE49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06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F3107E2-3D7C-4EA6-A3AE-B45AC3CE49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ítulo 1">
            <a:extLst>
              <a:ext uri="{FF2B5EF4-FFF2-40B4-BE49-F238E27FC236}">
                <a16:creationId xmlns:a16="http://schemas.microsoft.com/office/drawing/2014/main" id="{4BFB3231-EC8D-AC43-B9D1-D6556772F6F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524000" y="3189051"/>
            <a:ext cx="9144000" cy="553998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endParaRPr lang="es-ES"/>
          </a:p>
        </p:txBody>
      </p:sp>
      <p:sp>
        <p:nvSpPr>
          <p:cNvPr id="6" name="CuadroTexto 64">
            <a:extLst>
              <a:ext uri="{FF2B5EF4-FFF2-40B4-BE49-F238E27FC236}">
                <a16:creationId xmlns:a16="http://schemas.microsoft.com/office/drawing/2014/main" id="{5D5E7AF8-5D93-47BD-AFBA-EB4A85F3DADD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D7427BE-A42A-403B-9DFB-7967AFEB32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84125" y="4896548"/>
            <a:ext cx="6823749" cy="360000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0CB340-568D-4891-8AA1-41A91180907B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001E89-B6DE-4CF4-B2EA-0B37655319AC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07162EC-CC32-433F-AC01-78629E33234E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5A75312-1E3B-46CA-A8ED-BAB9A1043BEB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Freeform: Shape 629">
            <a:extLst>
              <a:ext uri="{FF2B5EF4-FFF2-40B4-BE49-F238E27FC236}">
                <a16:creationId xmlns:a16="http://schemas.microsoft.com/office/drawing/2014/main" id="{D3D5EEB8-8CD4-498D-80DD-A871EBF134A5}"/>
              </a:ext>
            </a:extLst>
          </p:cNvPr>
          <p:cNvSpPr/>
          <p:nvPr userDrawn="1"/>
        </p:nvSpPr>
        <p:spPr>
          <a:xfrm>
            <a:off x="5798502" y="1481812"/>
            <a:ext cx="594995" cy="591616"/>
          </a:xfrm>
          <a:custGeom>
            <a:avLst/>
            <a:gdLst>
              <a:gd name="connsiteX0" fmla="*/ 113583 w 151443"/>
              <a:gd name="connsiteY0" fmla="*/ 67978 h 150583"/>
              <a:gd name="connsiteX1" fmla="*/ 113583 w 151443"/>
              <a:gd name="connsiteY1" fmla="*/ 52489 h 150583"/>
              <a:gd name="connsiteX2" fmla="*/ 98095 w 151443"/>
              <a:gd name="connsiteY2" fmla="*/ 52489 h 150583"/>
              <a:gd name="connsiteX3" fmla="*/ 98095 w 151443"/>
              <a:gd name="connsiteY3" fmla="*/ 67978 h 150583"/>
              <a:gd name="connsiteX4" fmla="*/ 113583 w 151443"/>
              <a:gd name="connsiteY4" fmla="*/ 67978 h 150583"/>
              <a:gd name="connsiteX5" fmla="*/ 83466 w 151443"/>
              <a:gd name="connsiteY5" fmla="*/ 67978 h 150583"/>
              <a:gd name="connsiteX6" fmla="*/ 83466 w 151443"/>
              <a:gd name="connsiteY6" fmla="*/ 52489 h 150583"/>
              <a:gd name="connsiteX7" fmla="*/ 68838 w 151443"/>
              <a:gd name="connsiteY7" fmla="*/ 52489 h 150583"/>
              <a:gd name="connsiteX8" fmla="*/ 68838 w 151443"/>
              <a:gd name="connsiteY8" fmla="*/ 67978 h 150583"/>
              <a:gd name="connsiteX9" fmla="*/ 83466 w 151443"/>
              <a:gd name="connsiteY9" fmla="*/ 67978 h 150583"/>
              <a:gd name="connsiteX10" fmla="*/ 53349 w 151443"/>
              <a:gd name="connsiteY10" fmla="*/ 67978 h 150583"/>
              <a:gd name="connsiteX11" fmla="*/ 53349 w 151443"/>
              <a:gd name="connsiteY11" fmla="*/ 52489 h 150583"/>
              <a:gd name="connsiteX12" fmla="*/ 37861 w 151443"/>
              <a:gd name="connsiteY12" fmla="*/ 52489 h 150583"/>
              <a:gd name="connsiteX13" fmla="*/ 37861 w 151443"/>
              <a:gd name="connsiteY13" fmla="*/ 67978 h 150583"/>
              <a:gd name="connsiteX14" fmla="*/ 53349 w 151443"/>
              <a:gd name="connsiteY14" fmla="*/ 67978 h 150583"/>
              <a:gd name="connsiteX15" fmla="*/ 136816 w 151443"/>
              <a:gd name="connsiteY15" fmla="*/ 0 h 150583"/>
              <a:gd name="connsiteX16" fmla="*/ 147141 w 151443"/>
              <a:gd name="connsiteY16" fmla="*/ 4302 h 150583"/>
              <a:gd name="connsiteX17" fmla="*/ 151444 w 151443"/>
              <a:gd name="connsiteY17" fmla="*/ 14628 h 150583"/>
              <a:gd name="connsiteX18" fmla="*/ 151444 w 151443"/>
              <a:gd name="connsiteY18" fmla="*/ 105839 h 150583"/>
              <a:gd name="connsiteX19" fmla="*/ 147141 w 151443"/>
              <a:gd name="connsiteY19" fmla="*/ 116164 h 150583"/>
              <a:gd name="connsiteX20" fmla="*/ 136816 w 151443"/>
              <a:gd name="connsiteY20" fmla="*/ 120467 h 150583"/>
              <a:gd name="connsiteX21" fmla="*/ 30117 w 151443"/>
              <a:gd name="connsiteY21" fmla="*/ 120467 h 150583"/>
              <a:gd name="connsiteX22" fmla="*/ 0 w 151443"/>
              <a:gd name="connsiteY22" fmla="*/ 150583 h 150583"/>
              <a:gd name="connsiteX23" fmla="*/ 0 w 151443"/>
              <a:gd name="connsiteY23" fmla="*/ 14628 h 150583"/>
              <a:gd name="connsiteX24" fmla="*/ 4302 w 151443"/>
              <a:gd name="connsiteY24" fmla="*/ 4302 h 150583"/>
              <a:gd name="connsiteX25" fmla="*/ 14628 w 151443"/>
              <a:gd name="connsiteY25" fmla="*/ 0 h 150583"/>
              <a:gd name="connsiteX26" fmla="*/ 136816 w 151443"/>
              <a:gd name="connsiteY26" fmla="*/ 0 h 150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51443" h="150583">
                <a:moveTo>
                  <a:pt x="113583" y="67978"/>
                </a:moveTo>
                <a:lnTo>
                  <a:pt x="113583" y="52489"/>
                </a:lnTo>
                <a:lnTo>
                  <a:pt x="98095" y="52489"/>
                </a:lnTo>
                <a:lnTo>
                  <a:pt x="98095" y="67978"/>
                </a:lnTo>
                <a:lnTo>
                  <a:pt x="113583" y="67978"/>
                </a:lnTo>
                <a:close/>
                <a:moveTo>
                  <a:pt x="83466" y="67978"/>
                </a:moveTo>
                <a:lnTo>
                  <a:pt x="83466" y="52489"/>
                </a:lnTo>
                <a:lnTo>
                  <a:pt x="68838" y="52489"/>
                </a:lnTo>
                <a:lnTo>
                  <a:pt x="68838" y="67978"/>
                </a:lnTo>
                <a:lnTo>
                  <a:pt x="83466" y="67978"/>
                </a:lnTo>
                <a:close/>
                <a:moveTo>
                  <a:pt x="53349" y="67978"/>
                </a:moveTo>
                <a:lnTo>
                  <a:pt x="53349" y="52489"/>
                </a:lnTo>
                <a:lnTo>
                  <a:pt x="37861" y="52489"/>
                </a:lnTo>
                <a:lnTo>
                  <a:pt x="37861" y="67978"/>
                </a:lnTo>
                <a:lnTo>
                  <a:pt x="53349" y="67978"/>
                </a:lnTo>
                <a:close/>
                <a:moveTo>
                  <a:pt x="136816" y="0"/>
                </a:moveTo>
                <a:cubicBezTo>
                  <a:pt x="141118" y="0"/>
                  <a:pt x="144559" y="1721"/>
                  <a:pt x="147141" y="4302"/>
                </a:cubicBezTo>
                <a:cubicBezTo>
                  <a:pt x="150583" y="6884"/>
                  <a:pt x="151444" y="10326"/>
                  <a:pt x="151444" y="14628"/>
                </a:cubicBezTo>
                <a:lnTo>
                  <a:pt x="151444" y="105839"/>
                </a:lnTo>
                <a:cubicBezTo>
                  <a:pt x="151444" y="110141"/>
                  <a:pt x="149723" y="113583"/>
                  <a:pt x="147141" y="116164"/>
                </a:cubicBezTo>
                <a:cubicBezTo>
                  <a:pt x="144559" y="119606"/>
                  <a:pt x="141118" y="120467"/>
                  <a:pt x="136816" y="120467"/>
                </a:cubicBezTo>
                <a:lnTo>
                  <a:pt x="30117" y="120467"/>
                </a:lnTo>
                <a:lnTo>
                  <a:pt x="0" y="150583"/>
                </a:lnTo>
                <a:lnTo>
                  <a:pt x="0" y="14628"/>
                </a:lnTo>
                <a:cubicBezTo>
                  <a:pt x="0" y="10326"/>
                  <a:pt x="1721" y="6884"/>
                  <a:pt x="4302" y="4302"/>
                </a:cubicBezTo>
                <a:cubicBezTo>
                  <a:pt x="7745" y="860"/>
                  <a:pt x="11186" y="0"/>
                  <a:pt x="14628" y="0"/>
                </a:cubicBezTo>
                <a:lnTo>
                  <a:pt x="136816" y="0"/>
                </a:lnTo>
                <a:close/>
              </a:path>
            </a:pathLst>
          </a:custGeom>
          <a:solidFill>
            <a:schemeClr val="bg1"/>
          </a:solidFill>
          <a:ln w="8603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9467719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v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43958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16200000" scaled="1"/>
          </a:gra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uadroTexto 64">
            <a:extLst>
              <a:ext uri="{FF2B5EF4-FFF2-40B4-BE49-F238E27FC236}">
                <a16:creationId xmlns:a16="http://schemas.microsoft.com/office/drawing/2014/main" id="{BF62935D-CD44-4AD8-8E70-8E658A45D5CA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D7D82C40-0E38-4916-A8E6-6F79691B36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65874" y="3463482"/>
            <a:ext cx="10261600" cy="553998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083BCE-E4A9-44F7-B19A-085C87DAFD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65874" y="6045199"/>
            <a:ext cx="10261600" cy="360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BC8C59-3BFA-4463-A730-C3619E962F5A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882D3B5-8179-4C26-AF37-E7B0C355FB7A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C1860E-14DF-4D88-A6C6-32A8565188A3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1BD4D62-7BE1-4207-8E9E-571DC561B7DD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9908895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2516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9" name="Marcador de posición de imagen 2">
            <a:extLst>
              <a:ext uri="{FF2B5EF4-FFF2-40B4-BE49-F238E27FC236}">
                <a16:creationId xmlns:a16="http://schemas.microsoft.com/office/drawing/2014/main" id="{31CC0BB2-D270-45FA-B36D-7DA74555A1C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CuadroTexto 64">
            <a:extLst>
              <a:ext uri="{FF2B5EF4-FFF2-40B4-BE49-F238E27FC236}">
                <a16:creationId xmlns:a16="http://schemas.microsoft.com/office/drawing/2014/main" id="{A837BAC7-8936-49B2-AA16-4D8D20EFE2F7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CuadroTexto 64">
            <a:extLst>
              <a:ext uri="{FF2B5EF4-FFF2-40B4-BE49-F238E27FC236}">
                <a16:creationId xmlns:a16="http://schemas.microsoft.com/office/drawing/2014/main" id="{6D9740EA-CDAD-4A7D-AE29-2A54AF22C3DE}"/>
              </a:ext>
            </a:extLst>
          </p:cNvPr>
          <p:cNvSpPr txBox="1"/>
          <p:nvPr userDrawn="1"/>
        </p:nvSpPr>
        <p:spPr>
          <a:xfrm>
            <a:off x="10878986" y="6452363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5227E7B1-E64E-4361-8C90-AF5798192F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1822" y="2561095"/>
            <a:ext cx="5333377" cy="432000"/>
          </a:xfrm>
        </p:spPr>
        <p:txBody>
          <a:bodyPr/>
          <a:lstStyle>
            <a:lvl1pPr algn="ctr">
              <a:defRPr b="0"/>
            </a:lvl1pPr>
          </a:lstStyle>
          <a:p>
            <a:r>
              <a:rPr lang="en-US"/>
              <a:t>Quote her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B4A3C47-8BF5-4E1C-B387-76F2FF1A26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81822" y="2993095"/>
            <a:ext cx="5333377" cy="43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E689FA1-ED57-4DE7-AD72-44501952A3A7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D21606-4344-4432-AC59-03FC4004F02E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C38A49-1DF9-419A-8DDC-4FD8111EA738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FABE439-925F-4BB0-8FB8-6BE3D6426232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8" name="Freeform: Shape 629">
            <a:extLst>
              <a:ext uri="{FF2B5EF4-FFF2-40B4-BE49-F238E27FC236}">
                <a16:creationId xmlns:a16="http://schemas.microsoft.com/office/drawing/2014/main" id="{BA8D9A59-D2D9-4CD5-9FF1-A45654E6EC45}"/>
              </a:ext>
            </a:extLst>
          </p:cNvPr>
          <p:cNvSpPr/>
          <p:nvPr userDrawn="1"/>
        </p:nvSpPr>
        <p:spPr>
          <a:xfrm>
            <a:off x="8851012" y="1518720"/>
            <a:ext cx="594995" cy="591616"/>
          </a:xfrm>
          <a:custGeom>
            <a:avLst/>
            <a:gdLst>
              <a:gd name="connsiteX0" fmla="*/ 113583 w 151443"/>
              <a:gd name="connsiteY0" fmla="*/ 67978 h 150583"/>
              <a:gd name="connsiteX1" fmla="*/ 113583 w 151443"/>
              <a:gd name="connsiteY1" fmla="*/ 52489 h 150583"/>
              <a:gd name="connsiteX2" fmla="*/ 98095 w 151443"/>
              <a:gd name="connsiteY2" fmla="*/ 52489 h 150583"/>
              <a:gd name="connsiteX3" fmla="*/ 98095 w 151443"/>
              <a:gd name="connsiteY3" fmla="*/ 67978 h 150583"/>
              <a:gd name="connsiteX4" fmla="*/ 113583 w 151443"/>
              <a:gd name="connsiteY4" fmla="*/ 67978 h 150583"/>
              <a:gd name="connsiteX5" fmla="*/ 83466 w 151443"/>
              <a:gd name="connsiteY5" fmla="*/ 67978 h 150583"/>
              <a:gd name="connsiteX6" fmla="*/ 83466 w 151443"/>
              <a:gd name="connsiteY6" fmla="*/ 52489 h 150583"/>
              <a:gd name="connsiteX7" fmla="*/ 68838 w 151443"/>
              <a:gd name="connsiteY7" fmla="*/ 52489 h 150583"/>
              <a:gd name="connsiteX8" fmla="*/ 68838 w 151443"/>
              <a:gd name="connsiteY8" fmla="*/ 67978 h 150583"/>
              <a:gd name="connsiteX9" fmla="*/ 83466 w 151443"/>
              <a:gd name="connsiteY9" fmla="*/ 67978 h 150583"/>
              <a:gd name="connsiteX10" fmla="*/ 53349 w 151443"/>
              <a:gd name="connsiteY10" fmla="*/ 67978 h 150583"/>
              <a:gd name="connsiteX11" fmla="*/ 53349 w 151443"/>
              <a:gd name="connsiteY11" fmla="*/ 52489 h 150583"/>
              <a:gd name="connsiteX12" fmla="*/ 37861 w 151443"/>
              <a:gd name="connsiteY12" fmla="*/ 52489 h 150583"/>
              <a:gd name="connsiteX13" fmla="*/ 37861 w 151443"/>
              <a:gd name="connsiteY13" fmla="*/ 67978 h 150583"/>
              <a:gd name="connsiteX14" fmla="*/ 53349 w 151443"/>
              <a:gd name="connsiteY14" fmla="*/ 67978 h 150583"/>
              <a:gd name="connsiteX15" fmla="*/ 136816 w 151443"/>
              <a:gd name="connsiteY15" fmla="*/ 0 h 150583"/>
              <a:gd name="connsiteX16" fmla="*/ 147141 w 151443"/>
              <a:gd name="connsiteY16" fmla="*/ 4302 h 150583"/>
              <a:gd name="connsiteX17" fmla="*/ 151444 w 151443"/>
              <a:gd name="connsiteY17" fmla="*/ 14628 h 150583"/>
              <a:gd name="connsiteX18" fmla="*/ 151444 w 151443"/>
              <a:gd name="connsiteY18" fmla="*/ 105839 h 150583"/>
              <a:gd name="connsiteX19" fmla="*/ 147141 w 151443"/>
              <a:gd name="connsiteY19" fmla="*/ 116164 h 150583"/>
              <a:gd name="connsiteX20" fmla="*/ 136816 w 151443"/>
              <a:gd name="connsiteY20" fmla="*/ 120467 h 150583"/>
              <a:gd name="connsiteX21" fmla="*/ 30117 w 151443"/>
              <a:gd name="connsiteY21" fmla="*/ 120467 h 150583"/>
              <a:gd name="connsiteX22" fmla="*/ 0 w 151443"/>
              <a:gd name="connsiteY22" fmla="*/ 150583 h 150583"/>
              <a:gd name="connsiteX23" fmla="*/ 0 w 151443"/>
              <a:gd name="connsiteY23" fmla="*/ 14628 h 150583"/>
              <a:gd name="connsiteX24" fmla="*/ 4302 w 151443"/>
              <a:gd name="connsiteY24" fmla="*/ 4302 h 150583"/>
              <a:gd name="connsiteX25" fmla="*/ 14628 w 151443"/>
              <a:gd name="connsiteY25" fmla="*/ 0 h 150583"/>
              <a:gd name="connsiteX26" fmla="*/ 136816 w 151443"/>
              <a:gd name="connsiteY26" fmla="*/ 0 h 150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51443" h="150583">
                <a:moveTo>
                  <a:pt x="113583" y="67978"/>
                </a:moveTo>
                <a:lnTo>
                  <a:pt x="113583" y="52489"/>
                </a:lnTo>
                <a:lnTo>
                  <a:pt x="98095" y="52489"/>
                </a:lnTo>
                <a:lnTo>
                  <a:pt x="98095" y="67978"/>
                </a:lnTo>
                <a:lnTo>
                  <a:pt x="113583" y="67978"/>
                </a:lnTo>
                <a:close/>
                <a:moveTo>
                  <a:pt x="83466" y="67978"/>
                </a:moveTo>
                <a:lnTo>
                  <a:pt x="83466" y="52489"/>
                </a:lnTo>
                <a:lnTo>
                  <a:pt x="68838" y="52489"/>
                </a:lnTo>
                <a:lnTo>
                  <a:pt x="68838" y="67978"/>
                </a:lnTo>
                <a:lnTo>
                  <a:pt x="83466" y="67978"/>
                </a:lnTo>
                <a:close/>
                <a:moveTo>
                  <a:pt x="53349" y="67978"/>
                </a:moveTo>
                <a:lnTo>
                  <a:pt x="53349" y="52489"/>
                </a:lnTo>
                <a:lnTo>
                  <a:pt x="37861" y="52489"/>
                </a:lnTo>
                <a:lnTo>
                  <a:pt x="37861" y="67978"/>
                </a:lnTo>
                <a:lnTo>
                  <a:pt x="53349" y="67978"/>
                </a:lnTo>
                <a:close/>
                <a:moveTo>
                  <a:pt x="136816" y="0"/>
                </a:moveTo>
                <a:cubicBezTo>
                  <a:pt x="141118" y="0"/>
                  <a:pt x="144559" y="1721"/>
                  <a:pt x="147141" y="4302"/>
                </a:cubicBezTo>
                <a:cubicBezTo>
                  <a:pt x="150583" y="6884"/>
                  <a:pt x="151444" y="10326"/>
                  <a:pt x="151444" y="14628"/>
                </a:cubicBezTo>
                <a:lnTo>
                  <a:pt x="151444" y="105839"/>
                </a:lnTo>
                <a:cubicBezTo>
                  <a:pt x="151444" y="110141"/>
                  <a:pt x="149723" y="113583"/>
                  <a:pt x="147141" y="116164"/>
                </a:cubicBezTo>
                <a:cubicBezTo>
                  <a:pt x="144559" y="119606"/>
                  <a:pt x="141118" y="120467"/>
                  <a:pt x="136816" y="120467"/>
                </a:cubicBezTo>
                <a:lnTo>
                  <a:pt x="30117" y="120467"/>
                </a:lnTo>
                <a:lnTo>
                  <a:pt x="0" y="150583"/>
                </a:lnTo>
                <a:lnTo>
                  <a:pt x="0" y="14628"/>
                </a:lnTo>
                <a:cubicBezTo>
                  <a:pt x="0" y="10326"/>
                  <a:pt x="1721" y="6884"/>
                  <a:pt x="4302" y="4302"/>
                </a:cubicBezTo>
                <a:cubicBezTo>
                  <a:pt x="7745" y="860"/>
                  <a:pt x="11186" y="0"/>
                  <a:pt x="14628" y="0"/>
                </a:cubicBezTo>
                <a:lnTo>
                  <a:pt x="136816" y="0"/>
                </a:lnTo>
                <a:close/>
              </a:path>
            </a:pathLst>
          </a:custGeom>
          <a:solidFill>
            <a:schemeClr val="accent1"/>
          </a:solidFill>
          <a:ln w="8603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652376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Color Pictur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2898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4" name="CuadroTexto 64">
            <a:extLst>
              <a:ext uri="{FF2B5EF4-FFF2-40B4-BE49-F238E27FC236}">
                <a16:creationId xmlns:a16="http://schemas.microsoft.com/office/drawing/2014/main" id="{CC2249F8-C077-487B-9BA3-4B911902A356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F579A3E-7345-456E-9716-B8A1EB8599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1396800"/>
            <a:ext cx="5731200" cy="4752000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 lang="en-US" sz="1400" b="0" i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C806392-A3AF-4A5A-84AF-59D8296F85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7200" y="254622"/>
            <a:ext cx="6440488" cy="642938"/>
          </a:xfr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i="0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i="0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Click to edit Master title styles</a:t>
            </a:r>
          </a:p>
        </p:txBody>
      </p:sp>
      <p:sp>
        <p:nvSpPr>
          <p:cNvPr id="8" name="Marcador de posición de imagen 2">
            <a:extLst>
              <a:ext uri="{FF2B5EF4-FFF2-40B4-BE49-F238E27FC236}">
                <a16:creationId xmlns:a16="http://schemas.microsoft.com/office/drawing/2014/main" id="{E4F1106D-AF6F-42F7-98D6-A03790982A3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38529" y="-14050"/>
            <a:ext cx="5670915" cy="6877222"/>
          </a:xfrm>
          <a:custGeom>
            <a:avLst/>
            <a:gdLst>
              <a:gd name="connsiteX0" fmla="*/ 0 w 4592124"/>
              <a:gd name="connsiteY0" fmla="*/ 0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0 w 4592124"/>
              <a:gd name="connsiteY4" fmla="*/ 0 h 6858000"/>
              <a:gd name="connsiteX0" fmla="*/ 2549525 w 4592124"/>
              <a:gd name="connsiteY0" fmla="*/ 1058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2549525 w 4592124"/>
              <a:gd name="connsiteY4" fmla="*/ 1058 h 6858000"/>
              <a:gd name="connsiteX0" fmla="*/ 2549525 w 4592124"/>
              <a:gd name="connsiteY0" fmla="*/ 0 h 6856942"/>
              <a:gd name="connsiteX1" fmla="*/ 4592124 w 4592124"/>
              <a:gd name="connsiteY1" fmla="*/ 1371762 h 6856942"/>
              <a:gd name="connsiteX2" fmla="*/ 4592124 w 4592124"/>
              <a:gd name="connsiteY2" fmla="*/ 6856942 h 6856942"/>
              <a:gd name="connsiteX3" fmla="*/ 0 w 4592124"/>
              <a:gd name="connsiteY3" fmla="*/ 6856942 h 6856942"/>
              <a:gd name="connsiteX4" fmla="*/ 2549525 w 4592124"/>
              <a:gd name="connsiteY4" fmla="*/ 0 h 6856942"/>
              <a:gd name="connsiteX0" fmla="*/ 2045812 w 4592124"/>
              <a:gd name="connsiteY0" fmla="*/ 1058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45812 w 4592124"/>
              <a:gd name="connsiteY4" fmla="*/ 1058 h 5485180"/>
              <a:gd name="connsiteX0" fmla="*/ 2028628 w 4592124"/>
              <a:gd name="connsiteY0" fmla="*/ 36027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28628 w 4592124"/>
              <a:gd name="connsiteY4" fmla="*/ 36027 h 5485180"/>
              <a:gd name="connsiteX0" fmla="*/ 2028628 w 4592124"/>
              <a:gd name="connsiteY0" fmla="*/ 4509 h 5453662"/>
              <a:gd name="connsiteX1" fmla="*/ 4568296 w 4592124"/>
              <a:gd name="connsiteY1" fmla="*/ 0 h 5453662"/>
              <a:gd name="connsiteX2" fmla="*/ 4592124 w 4592124"/>
              <a:gd name="connsiteY2" fmla="*/ 5453662 h 5453662"/>
              <a:gd name="connsiteX3" fmla="*/ 0 w 4592124"/>
              <a:gd name="connsiteY3" fmla="*/ 5453662 h 5453662"/>
              <a:gd name="connsiteX4" fmla="*/ 2028628 w 4592124"/>
              <a:gd name="connsiteY4" fmla="*/ 4509 h 5453662"/>
              <a:gd name="connsiteX0" fmla="*/ 2028628 w 4743341"/>
              <a:gd name="connsiteY0" fmla="*/ 4509 h 5460656"/>
              <a:gd name="connsiteX1" fmla="*/ 4568296 w 4743341"/>
              <a:gd name="connsiteY1" fmla="*/ 0 h 5460656"/>
              <a:gd name="connsiteX2" fmla="*/ 4743341 w 4743341"/>
              <a:gd name="connsiteY2" fmla="*/ 5460656 h 5460656"/>
              <a:gd name="connsiteX3" fmla="*/ 0 w 4743341"/>
              <a:gd name="connsiteY3" fmla="*/ 5453662 h 5460656"/>
              <a:gd name="connsiteX4" fmla="*/ 2028628 w 4743341"/>
              <a:gd name="connsiteY4" fmla="*/ 4509 h 5460656"/>
              <a:gd name="connsiteX0" fmla="*/ 2028628 w 4760755"/>
              <a:gd name="connsiteY0" fmla="*/ 4509 h 5460656"/>
              <a:gd name="connsiteX1" fmla="*/ 4760755 w 4760755"/>
              <a:gd name="connsiteY1" fmla="*/ 0 h 5460656"/>
              <a:gd name="connsiteX2" fmla="*/ 4743341 w 4760755"/>
              <a:gd name="connsiteY2" fmla="*/ 5460656 h 5460656"/>
              <a:gd name="connsiteX3" fmla="*/ 0 w 4760755"/>
              <a:gd name="connsiteY3" fmla="*/ 5453662 h 5460656"/>
              <a:gd name="connsiteX4" fmla="*/ 2028628 w 4760755"/>
              <a:gd name="connsiteY4" fmla="*/ 4509 h 5460656"/>
              <a:gd name="connsiteX0" fmla="*/ 2042201 w 4774328"/>
              <a:gd name="connsiteY0" fmla="*/ 4509 h 5467473"/>
              <a:gd name="connsiteX1" fmla="*/ 4774328 w 4774328"/>
              <a:gd name="connsiteY1" fmla="*/ 0 h 5467473"/>
              <a:gd name="connsiteX2" fmla="*/ 4756914 w 4774328"/>
              <a:gd name="connsiteY2" fmla="*/ 5460656 h 5467473"/>
              <a:gd name="connsiteX3" fmla="*/ 0 w 4774328"/>
              <a:gd name="connsiteY3" fmla="*/ 5467473 h 5467473"/>
              <a:gd name="connsiteX4" fmla="*/ 2042201 w 4774328"/>
              <a:gd name="connsiteY4" fmla="*/ 4509 h 5467473"/>
              <a:gd name="connsiteX0" fmla="*/ 2042201 w 4774328"/>
              <a:gd name="connsiteY0" fmla="*/ 4509 h 5474466"/>
              <a:gd name="connsiteX1" fmla="*/ 4774328 w 4774328"/>
              <a:gd name="connsiteY1" fmla="*/ 0 h 5474466"/>
              <a:gd name="connsiteX2" fmla="*/ 4765962 w 4774328"/>
              <a:gd name="connsiteY2" fmla="*/ 5474466 h 5474466"/>
              <a:gd name="connsiteX3" fmla="*/ 0 w 4774328"/>
              <a:gd name="connsiteY3" fmla="*/ 5467473 h 5474466"/>
              <a:gd name="connsiteX4" fmla="*/ 2042201 w 4774328"/>
              <a:gd name="connsiteY4" fmla="*/ 4509 h 5474466"/>
              <a:gd name="connsiteX0" fmla="*/ 2042201 w 4778853"/>
              <a:gd name="connsiteY0" fmla="*/ 0 h 5469957"/>
              <a:gd name="connsiteX1" fmla="*/ 4778853 w 4778853"/>
              <a:gd name="connsiteY1" fmla="*/ 4698 h 5469957"/>
              <a:gd name="connsiteX2" fmla="*/ 4765962 w 4778853"/>
              <a:gd name="connsiteY2" fmla="*/ 5469957 h 5469957"/>
              <a:gd name="connsiteX3" fmla="*/ 0 w 4778853"/>
              <a:gd name="connsiteY3" fmla="*/ 5462964 h 5469957"/>
              <a:gd name="connsiteX4" fmla="*/ 2042201 w 4778853"/>
              <a:gd name="connsiteY4" fmla="*/ 0 h 5469957"/>
              <a:gd name="connsiteX0" fmla="*/ 2042201 w 4781135"/>
              <a:gd name="connsiteY0" fmla="*/ 0 h 5462964"/>
              <a:gd name="connsiteX1" fmla="*/ 4778853 w 4781135"/>
              <a:gd name="connsiteY1" fmla="*/ 4698 h 5462964"/>
              <a:gd name="connsiteX2" fmla="*/ 4779535 w 4781135"/>
              <a:gd name="connsiteY2" fmla="*/ 5460751 h 5462964"/>
              <a:gd name="connsiteX3" fmla="*/ 0 w 4781135"/>
              <a:gd name="connsiteY3" fmla="*/ 5462964 h 5462964"/>
              <a:gd name="connsiteX4" fmla="*/ 2042201 w 4781135"/>
              <a:gd name="connsiteY4" fmla="*/ 0 h 5462964"/>
              <a:gd name="connsiteX0" fmla="*/ 2046725 w 4781135"/>
              <a:gd name="connsiteY0" fmla="*/ 0 h 5467567"/>
              <a:gd name="connsiteX1" fmla="*/ 4778853 w 4781135"/>
              <a:gd name="connsiteY1" fmla="*/ 9301 h 5467567"/>
              <a:gd name="connsiteX2" fmla="*/ 4779535 w 4781135"/>
              <a:gd name="connsiteY2" fmla="*/ 5465354 h 5467567"/>
              <a:gd name="connsiteX3" fmla="*/ 0 w 4781135"/>
              <a:gd name="connsiteY3" fmla="*/ 5467567 h 5467567"/>
              <a:gd name="connsiteX4" fmla="*/ 2046725 w 4781135"/>
              <a:gd name="connsiteY4" fmla="*/ 0 h 5467567"/>
              <a:gd name="connsiteX0" fmla="*/ 2046725 w 4779604"/>
              <a:gd name="connsiteY0" fmla="*/ 2821 h 5470388"/>
              <a:gd name="connsiteX1" fmla="*/ 4433343 w 4779604"/>
              <a:gd name="connsiteY1" fmla="*/ 0 h 5470388"/>
              <a:gd name="connsiteX2" fmla="*/ 4779535 w 4779604"/>
              <a:gd name="connsiteY2" fmla="*/ 5468175 h 5470388"/>
              <a:gd name="connsiteX3" fmla="*/ 0 w 4779604"/>
              <a:gd name="connsiteY3" fmla="*/ 5470388 h 5470388"/>
              <a:gd name="connsiteX4" fmla="*/ 2046725 w 4779604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3343" h="5470388">
                <a:moveTo>
                  <a:pt x="2046725" y="2821"/>
                </a:moveTo>
                <a:lnTo>
                  <a:pt x="4433343" y="0"/>
                </a:lnTo>
                <a:cubicBezTo>
                  <a:pt x="4427538" y="1820219"/>
                  <a:pt x="4431887" y="3647956"/>
                  <a:pt x="4426082" y="5468175"/>
                </a:cubicBezTo>
                <a:lnTo>
                  <a:pt x="0" y="5470388"/>
                </a:lnTo>
                <a:lnTo>
                  <a:pt x="2046725" y="2821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239AA17-8738-4D9F-9EE6-683BA57CA59D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E3E47A5-4CE4-4B30-A14D-C86E5C96AAF8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FF40FDF-A4AC-4ACE-945C-2AB94EF41ECC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EC79A2F-8581-4F78-B2C7-3586C093528A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8EA8F761-4189-420E-96C9-460A6A4EC63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26939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+ White +Picture (righ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48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4" name="CuadroTexto 64">
            <a:extLst>
              <a:ext uri="{FF2B5EF4-FFF2-40B4-BE49-F238E27FC236}">
                <a16:creationId xmlns:a16="http://schemas.microsoft.com/office/drawing/2014/main" id="{CC2249F8-C077-487B-9BA3-4B911902A356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F579A3E-7345-456E-9716-B8A1EB8599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1396800"/>
            <a:ext cx="5731200" cy="4752000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en-US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Graphic 10">
            <a:extLst>
              <a:ext uri="{FF2B5EF4-FFF2-40B4-BE49-F238E27FC236}">
                <a16:creationId xmlns:a16="http://schemas.microsoft.com/office/drawing/2014/main" id="{FBA29A88-0360-4F2A-98A7-A7A4FDB8FBA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50F8B5E4-1D7F-42FC-A9D6-1984814E1A3E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AA835B1-5521-4EDB-B6D8-FDF4910E68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0" y="252000"/>
            <a:ext cx="1144800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Marcador de posición de imagen 2">
            <a:extLst>
              <a:ext uri="{FF2B5EF4-FFF2-40B4-BE49-F238E27FC236}">
                <a16:creationId xmlns:a16="http://schemas.microsoft.com/office/drawing/2014/main" id="{793B81A0-6E54-475C-BFE1-1326EFC9AF9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38529" y="-14050"/>
            <a:ext cx="5670915" cy="6877222"/>
          </a:xfrm>
          <a:custGeom>
            <a:avLst/>
            <a:gdLst>
              <a:gd name="connsiteX0" fmla="*/ 0 w 4592124"/>
              <a:gd name="connsiteY0" fmla="*/ 0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0 w 4592124"/>
              <a:gd name="connsiteY4" fmla="*/ 0 h 6858000"/>
              <a:gd name="connsiteX0" fmla="*/ 2549525 w 4592124"/>
              <a:gd name="connsiteY0" fmla="*/ 1058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2549525 w 4592124"/>
              <a:gd name="connsiteY4" fmla="*/ 1058 h 6858000"/>
              <a:gd name="connsiteX0" fmla="*/ 2549525 w 4592124"/>
              <a:gd name="connsiteY0" fmla="*/ 0 h 6856942"/>
              <a:gd name="connsiteX1" fmla="*/ 4592124 w 4592124"/>
              <a:gd name="connsiteY1" fmla="*/ 1371762 h 6856942"/>
              <a:gd name="connsiteX2" fmla="*/ 4592124 w 4592124"/>
              <a:gd name="connsiteY2" fmla="*/ 6856942 h 6856942"/>
              <a:gd name="connsiteX3" fmla="*/ 0 w 4592124"/>
              <a:gd name="connsiteY3" fmla="*/ 6856942 h 6856942"/>
              <a:gd name="connsiteX4" fmla="*/ 2549525 w 4592124"/>
              <a:gd name="connsiteY4" fmla="*/ 0 h 6856942"/>
              <a:gd name="connsiteX0" fmla="*/ 2045812 w 4592124"/>
              <a:gd name="connsiteY0" fmla="*/ 1058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45812 w 4592124"/>
              <a:gd name="connsiteY4" fmla="*/ 1058 h 5485180"/>
              <a:gd name="connsiteX0" fmla="*/ 2028628 w 4592124"/>
              <a:gd name="connsiteY0" fmla="*/ 36027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28628 w 4592124"/>
              <a:gd name="connsiteY4" fmla="*/ 36027 h 5485180"/>
              <a:gd name="connsiteX0" fmla="*/ 2028628 w 4592124"/>
              <a:gd name="connsiteY0" fmla="*/ 4509 h 5453662"/>
              <a:gd name="connsiteX1" fmla="*/ 4568296 w 4592124"/>
              <a:gd name="connsiteY1" fmla="*/ 0 h 5453662"/>
              <a:gd name="connsiteX2" fmla="*/ 4592124 w 4592124"/>
              <a:gd name="connsiteY2" fmla="*/ 5453662 h 5453662"/>
              <a:gd name="connsiteX3" fmla="*/ 0 w 4592124"/>
              <a:gd name="connsiteY3" fmla="*/ 5453662 h 5453662"/>
              <a:gd name="connsiteX4" fmla="*/ 2028628 w 4592124"/>
              <a:gd name="connsiteY4" fmla="*/ 4509 h 5453662"/>
              <a:gd name="connsiteX0" fmla="*/ 2028628 w 4743341"/>
              <a:gd name="connsiteY0" fmla="*/ 4509 h 5460656"/>
              <a:gd name="connsiteX1" fmla="*/ 4568296 w 4743341"/>
              <a:gd name="connsiteY1" fmla="*/ 0 h 5460656"/>
              <a:gd name="connsiteX2" fmla="*/ 4743341 w 4743341"/>
              <a:gd name="connsiteY2" fmla="*/ 5460656 h 5460656"/>
              <a:gd name="connsiteX3" fmla="*/ 0 w 4743341"/>
              <a:gd name="connsiteY3" fmla="*/ 5453662 h 5460656"/>
              <a:gd name="connsiteX4" fmla="*/ 2028628 w 4743341"/>
              <a:gd name="connsiteY4" fmla="*/ 4509 h 5460656"/>
              <a:gd name="connsiteX0" fmla="*/ 2028628 w 4760755"/>
              <a:gd name="connsiteY0" fmla="*/ 4509 h 5460656"/>
              <a:gd name="connsiteX1" fmla="*/ 4760755 w 4760755"/>
              <a:gd name="connsiteY1" fmla="*/ 0 h 5460656"/>
              <a:gd name="connsiteX2" fmla="*/ 4743341 w 4760755"/>
              <a:gd name="connsiteY2" fmla="*/ 5460656 h 5460656"/>
              <a:gd name="connsiteX3" fmla="*/ 0 w 4760755"/>
              <a:gd name="connsiteY3" fmla="*/ 5453662 h 5460656"/>
              <a:gd name="connsiteX4" fmla="*/ 2028628 w 4760755"/>
              <a:gd name="connsiteY4" fmla="*/ 4509 h 5460656"/>
              <a:gd name="connsiteX0" fmla="*/ 2042201 w 4774328"/>
              <a:gd name="connsiteY0" fmla="*/ 4509 h 5467473"/>
              <a:gd name="connsiteX1" fmla="*/ 4774328 w 4774328"/>
              <a:gd name="connsiteY1" fmla="*/ 0 h 5467473"/>
              <a:gd name="connsiteX2" fmla="*/ 4756914 w 4774328"/>
              <a:gd name="connsiteY2" fmla="*/ 5460656 h 5467473"/>
              <a:gd name="connsiteX3" fmla="*/ 0 w 4774328"/>
              <a:gd name="connsiteY3" fmla="*/ 5467473 h 5467473"/>
              <a:gd name="connsiteX4" fmla="*/ 2042201 w 4774328"/>
              <a:gd name="connsiteY4" fmla="*/ 4509 h 5467473"/>
              <a:gd name="connsiteX0" fmla="*/ 2042201 w 4774328"/>
              <a:gd name="connsiteY0" fmla="*/ 4509 h 5474466"/>
              <a:gd name="connsiteX1" fmla="*/ 4774328 w 4774328"/>
              <a:gd name="connsiteY1" fmla="*/ 0 h 5474466"/>
              <a:gd name="connsiteX2" fmla="*/ 4765962 w 4774328"/>
              <a:gd name="connsiteY2" fmla="*/ 5474466 h 5474466"/>
              <a:gd name="connsiteX3" fmla="*/ 0 w 4774328"/>
              <a:gd name="connsiteY3" fmla="*/ 5467473 h 5474466"/>
              <a:gd name="connsiteX4" fmla="*/ 2042201 w 4774328"/>
              <a:gd name="connsiteY4" fmla="*/ 4509 h 5474466"/>
              <a:gd name="connsiteX0" fmla="*/ 2042201 w 4778853"/>
              <a:gd name="connsiteY0" fmla="*/ 0 h 5469957"/>
              <a:gd name="connsiteX1" fmla="*/ 4778853 w 4778853"/>
              <a:gd name="connsiteY1" fmla="*/ 4698 h 5469957"/>
              <a:gd name="connsiteX2" fmla="*/ 4765962 w 4778853"/>
              <a:gd name="connsiteY2" fmla="*/ 5469957 h 5469957"/>
              <a:gd name="connsiteX3" fmla="*/ 0 w 4778853"/>
              <a:gd name="connsiteY3" fmla="*/ 5462964 h 5469957"/>
              <a:gd name="connsiteX4" fmla="*/ 2042201 w 4778853"/>
              <a:gd name="connsiteY4" fmla="*/ 0 h 5469957"/>
              <a:gd name="connsiteX0" fmla="*/ 2042201 w 4781135"/>
              <a:gd name="connsiteY0" fmla="*/ 0 h 5462964"/>
              <a:gd name="connsiteX1" fmla="*/ 4778853 w 4781135"/>
              <a:gd name="connsiteY1" fmla="*/ 4698 h 5462964"/>
              <a:gd name="connsiteX2" fmla="*/ 4779535 w 4781135"/>
              <a:gd name="connsiteY2" fmla="*/ 5460751 h 5462964"/>
              <a:gd name="connsiteX3" fmla="*/ 0 w 4781135"/>
              <a:gd name="connsiteY3" fmla="*/ 5462964 h 5462964"/>
              <a:gd name="connsiteX4" fmla="*/ 2042201 w 4781135"/>
              <a:gd name="connsiteY4" fmla="*/ 0 h 5462964"/>
              <a:gd name="connsiteX0" fmla="*/ 2046725 w 4781135"/>
              <a:gd name="connsiteY0" fmla="*/ 0 h 5467567"/>
              <a:gd name="connsiteX1" fmla="*/ 4778853 w 4781135"/>
              <a:gd name="connsiteY1" fmla="*/ 9301 h 5467567"/>
              <a:gd name="connsiteX2" fmla="*/ 4779535 w 4781135"/>
              <a:gd name="connsiteY2" fmla="*/ 5465354 h 5467567"/>
              <a:gd name="connsiteX3" fmla="*/ 0 w 4781135"/>
              <a:gd name="connsiteY3" fmla="*/ 5467567 h 5467567"/>
              <a:gd name="connsiteX4" fmla="*/ 2046725 w 4781135"/>
              <a:gd name="connsiteY4" fmla="*/ 0 h 5467567"/>
              <a:gd name="connsiteX0" fmla="*/ 2046725 w 4779604"/>
              <a:gd name="connsiteY0" fmla="*/ 2821 h 5470388"/>
              <a:gd name="connsiteX1" fmla="*/ 4433343 w 4779604"/>
              <a:gd name="connsiteY1" fmla="*/ 0 h 5470388"/>
              <a:gd name="connsiteX2" fmla="*/ 4779535 w 4779604"/>
              <a:gd name="connsiteY2" fmla="*/ 5468175 h 5470388"/>
              <a:gd name="connsiteX3" fmla="*/ 0 w 4779604"/>
              <a:gd name="connsiteY3" fmla="*/ 5470388 h 5470388"/>
              <a:gd name="connsiteX4" fmla="*/ 2046725 w 4779604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3343" h="5470388">
                <a:moveTo>
                  <a:pt x="2046725" y="2821"/>
                </a:moveTo>
                <a:lnTo>
                  <a:pt x="4433343" y="0"/>
                </a:lnTo>
                <a:cubicBezTo>
                  <a:pt x="4427538" y="1820219"/>
                  <a:pt x="4431887" y="3647956"/>
                  <a:pt x="4426082" y="5468175"/>
                </a:cubicBezTo>
                <a:lnTo>
                  <a:pt x="0" y="5470388"/>
                </a:lnTo>
                <a:lnTo>
                  <a:pt x="2046725" y="2821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B362F00-C20E-4FBB-B400-F2BA76CB6FB6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DBD38D-B4D4-4591-9F45-2B6AE584B3A5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393584-F088-40CE-A468-CEB1953B042D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432AAB4-63BB-46BF-87D3-813A0270F480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10667767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Color Picture v2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699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F579A3E-7345-456E-9716-B8A1EB8599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1396800"/>
            <a:ext cx="5336703" cy="4752000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 lang="en-US" sz="1400" b="0" i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Marcador de posición de imagen 2">
            <a:extLst>
              <a:ext uri="{FF2B5EF4-FFF2-40B4-BE49-F238E27FC236}">
                <a16:creationId xmlns:a16="http://schemas.microsoft.com/office/drawing/2014/main" id="{31CC0BB2-D270-45FA-B36D-7DA74555A1C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05159" y="0"/>
            <a:ext cx="6086841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78E38E11-42CA-4072-BA9B-615D513DD720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2242D9D6-D11A-4D6D-B040-1DB896ED4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0" y="252000"/>
            <a:ext cx="11448000" cy="4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3A34D5F-1862-4AF6-A1FB-AB557083FBA8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D90E8D-7383-48EA-9C46-8ED32678559A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DF8D71-3144-4FFA-A9E0-AB725BDE6C5F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93AEE06-F5A3-4CA6-A1EE-587CBF766DE1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pic>
        <p:nvPicPr>
          <p:cNvPr id="15" name="Graphic 10">
            <a:extLst>
              <a:ext uri="{FF2B5EF4-FFF2-40B4-BE49-F238E27FC236}">
                <a16:creationId xmlns:a16="http://schemas.microsoft.com/office/drawing/2014/main" id="{1EF219A0-C34D-4FA0-9BE3-68053D25982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15407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Color Picture v3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0406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F579A3E-7345-456E-9716-B8A1EB8599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98400" y="1396800"/>
            <a:ext cx="7416800" cy="4752000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 lang="en-US" sz="1400" b="0" i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Marcador de posición de imagen 2">
            <a:extLst>
              <a:ext uri="{FF2B5EF4-FFF2-40B4-BE49-F238E27FC236}">
                <a16:creationId xmlns:a16="http://schemas.microsoft.com/office/drawing/2014/main" id="{31CC0BB2-D270-45FA-B36D-7DA74555A1C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719513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CuadroTexto 64">
            <a:extLst>
              <a:ext uri="{FF2B5EF4-FFF2-40B4-BE49-F238E27FC236}">
                <a16:creationId xmlns:a16="http://schemas.microsoft.com/office/drawing/2014/main" id="{A837BAC7-8936-49B2-AA16-4D8D20EFE2F7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BCF6E4-34B1-4810-9AD2-831E946545EB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42A6AA-E939-46F9-817D-B9054D68E5BA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0A577B-D86E-4B54-AD20-19D8159F92C4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B6B5D48-D763-464A-8CC8-CDBF9B7B60D1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02AA6F99-D5FA-4B23-9741-BB0916398AB6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404704" y="722639"/>
            <a:ext cx="7410355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FD2ABE27-801C-439F-8C68-AAFCCF2AC6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3724" y="252000"/>
            <a:ext cx="7411475" cy="4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137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584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4B4FC7D-4393-4A68-A6C5-568B02850E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1592263"/>
            <a:ext cx="6840536" cy="2334072"/>
          </a:xfrm>
        </p:spPr>
        <p:txBody>
          <a:bodyPr anchor="b"/>
          <a:lstStyle>
            <a:lvl1pPr>
              <a:defRPr sz="3600">
                <a:solidFill>
                  <a:srgbClr val="DA291C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7DF24BF0-C3D8-4A33-9A94-03CE8CC973C2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947739" y="4093103"/>
            <a:ext cx="5148261" cy="171238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000000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4" name="CuadroTexto 64">
            <a:extLst>
              <a:ext uri="{FF2B5EF4-FFF2-40B4-BE49-F238E27FC236}">
                <a16:creationId xmlns:a16="http://schemas.microsoft.com/office/drawing/2014/main" id="{CC2249F8-C077-487B-9BA3-4B911902A356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CuadroTexto 64">
            <a:extLst>
              <a:ext uri="{FF2B5EF4-FFF2-40B4-BE49-F238E27FC236}">
                <a16:creationId xmlns:a16="http://schemas.microsoft.com/office/drawing/2014/main" id="{08E9C9DD-93B5-4058-A8FA-3D88D1252332}"/>
              </a:ext>
            </a:extLst>
          </p:cNvPr>
          <p:cNvSpPr txBox="1"/>
          <p:nvPr userDrawn="1"/>
        </p:nvSpPr>
        <p:spPr>
          <a:xfrm>
            <a:off x="11034703" y="66016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Marcador de posición de imagen 2">
            <a:extLst>
              <a:ext uri="{FF2B5EF4-FFF2-40B4-BE49-F238E27FC236}">
                <a16:creationId xmlns:a16="http://schemas.microsoft.com/office/drawing/2014/main" id="{01A0055D-2CAB-40BB-85A4-984D8C439F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38529" y="-14050"/>
            <a:ext cx="5670915" cy="6877222"/>
          </a:xfrm>
          <a:custGeom>
            <a:avLst/>
            <a:gdLst>
              <a:gd name="connsiteX0" fmla="*/ 0 w 4592124"/>
              <a:gd name="connsiteY0" fmla="*/ 0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0 w 4592124"/>
              <a:gd name="connsiteY4" fmla="*/ 0 h 6858000"/>
              <a:gd name="connsiteX0" fmla="*/ 2549525 w 4592124"/>
              <a:gd name="connsiteY0" fmla="*/ 1058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2549525 w 4592124"/>
              <a:gd name="connsiteY4" fmla="*/ 1058 h 6858000"/>
              <a:gd name="connsiteX0" fmla="*/ 2549525 w 4592124"/>
              <a:gd name="connsiteY0" fmla="*/ 0 h 6856942"/>
              <a:gd name="connsiteX1" fmla="*/ 4592124 w 4592124"/>
              <a:gd name="connsiteY1" fmla="*/ 1371762 h 6856942"/>
              <a:gd name="connsiteX2" fmla="*/ 4592124 w 4592124"/>
              <a:gd name="connsiteY2" fmla="*/ 6856942 h 6856942"/>
              <a:gd name="connsiteX3" fmla="*/ 0 w 4592124"/>
              <a:gd name="connsiteY3" fmla="*/ 6856942 h 6856942"/>
              <a:gd name="connsiteX4" fmla="*/ 2549525 w 4592124"/>
              <a:gd name="connsiteY4" fmla="*/ 0 h 6856942"/>
              <a:gd name="connsiteX0" fmla="*/ 2045812 w 4592124"/>
              <a:gd name="connsiteY0" fmla="*/ 1058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45812 w 4592124"/>
              <a:gd name="connsiteY4" fmla="*/ 1058 h 5485180"/>
              <a:gd name="connsiteX0" fmla="*/ 2028628 w 4592124"/>
              <a:gd name="connsiteY0" fmla="*/ 36027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28628 w 4592124"/>
              <a:gd name="connsiteY4" fmla="*/ 36027 h 5485180"/>
              <a:gd name="connsiteX0" fmla="*/ 2028628 w 4592124"/>
              <a:gd name="connsiteY0" fmla="*/ 4509 h 5453662"/>
              <a:gd name="connsiteX1" fmla="*/ 4568296 w 4592124"/>
              <a:gd name="connsiteY1" fmla="*/ 0 h 5453662"/>
              <a:gd name="connsiteX2" fmla="*/ 4592124 w 4592124"/>
              <a:gd name="connsiteY2" fmla="*/ 5453662 h 5453662"/>
              <a:gd name="connsiteX3" fmla="*/ 0 w 4592124"/>
              <a:gd name="connsiteY3" fmla="*/ 5453662 h 5453662"/>
              <a:gd name="connsiteX4" fmla="*/ 2028628 w 4592124"/>
              <a:gd name="connsiteY4" fmla="*/ 4509 h 5453662"/>
              <a:gd name="connsiteX0" fmla="*/ 2028628 w 4743341"/>
              <a:gd name="connsiteY0" fmla="*/ 4509 h 5460656"/>
              <a:gd name="connsiteX1" fmla="*/ 4568296 w 4743341"/>
              <a:gd name="connsiteY1" fmla="*/ 0 h 5460656"/>
              <a:gd name="connsiteX2" fmla="*/ 4743341 w 4743341"/>
              <a:gd name="connsiteY2" fmla="*/ 5460656 h 5460656"/>
              <a:gd name="connsiteX3" fmla="*/ 0 w 4743341"/>
              <a:gd name="connsiteY3" fmla="*/ 5453662 h 5460656"/>
              <a:gd name="connsiteX4" fmla="*/ 2028628 w 4743341"/>
              <a:gd name="connsiteY4" fmla="*/ 4509 h 5460656"/>
              <a:gd name="connsiteX0" fmla="*/ 2028628 w 4760755"/>
              <a:gd name="connsiteY0" fmla="*/ 4509 h 5460656"/>
              <a:gd name="connsiteX1" fmla="*/ 4760755 w 4760755"/>
              <a:gd name="connsiteY1" fmla="*/ 0 h 5460656"/>
              <a:gd name="connsiteX2" fmla="*/ 4743341 w 4760755"/>
              <a:gd name="connsiteY2" fmla="*/ 5460656 h 5460656"/>
              <a:gd name="connsiteX3" fmla="*/ 0 w 4760755"/>
              <a:gd name="connsiteY3" fmla="*/ 5453662 h 5460656"/>
              <a:gd name="connsiteX4" fmla="*/ 2028628 w 4760755"/>
              <a:gd name="connsiteY4" fmla="*/ 4509 h 5460656"/>
              <a:gd name="connsiteX0" fmla="*/ 2042201 w 4774328"/>
              <a:gd name="connsiteY0" fmla="*/ 4509 h 5467473"/>
              <a:gd name="connsiteX1" fmla="*/ 4774328 w 4774328"/>
              <a:gd name="connsiteY1" fmla="*/ 0 h 5467473"/>
              <a:gd name="connsiteX2" fmla="*/ 4756914 w 4774328"/>
              <a:gd name="connsiteY2" fmla="*/ 5460656 h 5467473"/>
              <a:gd name="connsiteX3" fmla="*/ 0 w 4774328"/>
              <a:gd name="connsiteY3" fmla="*/ 5467473 h 5467473"/>
              <a:gd name="connsiteX4" fmla="*/ 2042201 w 4774328"/>
              <a:gd name="connsiteY4" fmla="*/ 4509 h 5467473"/>
              <a:gd name="connsiteX0" fmla="*/ 2042201 w 4774328"/>
              <a:gd name="connsiteY0" fmla="*/ 4509 h 5474466"/>
              <a:gd name="connsiteX1" fmla="*/ 4774328 w 4774328"/>
              <a:gd name="connsiteY1" fmla="*/ 0 h 5474466"/>
              <a:gd name="connsiteX2" fmla="*/ 4765962 w 4774328"/>
              <a:gd name="connsiteY2" fmla="*/ 5474466 h 5474466"/>
              <a:gd name="connsiteX3" fmla="*/ 0 w 4774328"/>
              <a:gd name="connsiteY3" fmla="*/ 5467473 h 5474466"/>
              <a:gd name="connsiteX4" fmla="*/ 2042201 w 4774328"/>
              <a:gd name="connsiteY4" fmla="*/ 4509 h 5474466"/>
              <a:gd name="connsiteX0" fmla="*/ 2042201 w 4778853"/>
              <a:gd name="connsiteY0" fmla="*/ 0 h 5469957"/>
              <a:gd name="connsiteX1" fmla="*/ 4778853 w 4778853"/>
              <a:gd name="connsiteY1" fmla="*/ 4698 h 5469957"/>
              <a:gd name="connsiteX2" fmla="*/ 4765962 w 4778853"/>
              <a:gd name="connsiteY2" fmla="*/ 5469957 h 5469957"/>
              <a:gd name="connsiteX3" fmla="*/ 0 w 4778853"/>
              <a:gd name="connsiteY3" fmla="*/ 5462964 h 5469957"/>
              <a:gd name="connsiteX4" fmla="*/ 2042201 w 4778853"/>
              <a:gd name="connsiteY4" fmla="*/ 0 h 5469957"/>
              <a:gd name="connsiteX0" fmla="*/ 2042201 w 4781135"/>
              <a:gd name="connsiteY0" fmla="*/ 0 h 5462964"/>
              <a:gd name="connsiteX1" fmla="*/ 4778853 w 4781135"/>
              <a:gd name="connsiteY1" fmla="*/ 4698 h 5462964"/>
              <a:gd name="connsiteX2" fmla="*/ 4779535 w 4781135"/>
              <a:gd name="connsiteY2" fmla="*/ 5460751 h 5462964"/>
              <a:gd name="connsiteX3" fmla="*/ 0 w 4781135"/>
              <a:gd name="connsiteY3" fmla="*/ 5462964 h 5462964"/>
              <a:gd name="connsiteX4" fmla="*/ 2042201 w 4781135"/>
              <a:gd name="connsiteY4" fmla="*/ 0 h 5462964"/>
              <a:gd name="connsiteX0" fmla="*/ 2046725 w 4781135"/>
              <a:gd name="connsiteY0" fmla="*/ 0 h 5467567"/>
              <a:gd name="connsiteX1" fmla="*/ 4778853 w 4781135"/>
              <a:gd name="connsiteY1" fmla="*/ 9301 h 5467567"/>
              <a:gd name="connsiteX2" fmla="*/ 4779535 w 4781135"/>
              <a:gd name="connsiteY2" fmla="*/ 5465354 h 5467567"/>
              <a:gd name="connsiteX3" fmla="*/ 0 w 4781135"/>
              <a:gd name="connsiteY3" fmla="*/ 5467567 h 5467567"/>
              <a:gd name="connsiteX4" fmla="*/ 2046725 w 4781135"/>
              <a:gd name="connsiteY4" fmla="*/ 0 h 5467567"/>
              <a:gd name="connsiteX0" fmla="*/ 2046725 w 4779604"/>
              <a:gd name="connsiteY0" fmla="*/ 2821 h 5470388"/>
              <a:gd name="connsiteX1" fmla="*/ 4433343 w 4779604"/>
              <a:gd name="connsiteY1" fmla="*/ 0 h 5470388"/>
              <a:gd name="connsiteX2" fmla="*/ 4779535 w 4779604"/>
              <a:gd name="connsiteY2" fmla="*/ 5468175 h 5470388"/>
              <a:gd name="connsiteX3" fmla="*/ 0 w 4779604"/>
              <a:gd name="connsiteY3" fmla="*/ 5470388 h 5470388"/>
              <a:gd name="connsiteX4" fmla="*/ 2046725 w 4779604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3343" h="5470388">
                <a:moveTo>
                  <a:pt x="2046725" y="2821"/>
                </a:moveTo>
                <a:lnTo>
                  <a:pt x="4433343" y="0"/>
                </a:lnTo>
                <a:cubicBezTo>
                  <a:pt x="4427538" y="1820219"/>
                  <a:pt x="4431887" y="3647956"/>
                  <a:pt x="4426082" y="5468175"/>
                </a:cubicBezTo>
                <a:lnTo>
                  <a:pt x="0" y="5470388"/>
                </a:lnTo>
                <a:lnTo>
                  <a:pt x="2046725" y="2821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D381F68-55A6-4B62-A19C-D30D0BC35E2E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0761C0-2891-4857-B104-9307DA6B3462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E1C53BC-C2E9-4FC9-8C49-A7A61AFDFC62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C20233-19BB-4141-9983-89C3AD532B98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30833343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White Picture v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6985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F579A3E-7345-456E-9716-B8A1EB8599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98400" y="1396800"/>
            <a:ext cx="3389875" cy="4752000"/>
          </a:xfrm>
          <a:prstGeom prst="rect">
            <a:avLst/>
          </a:prstGeo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lang="en-US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Marcador de posición de imagen 2">
            <a:extLst>
              <a:ext uri="{FF2B5EF4-FFF2-40B4-BE49-F238E27FC236}">
                <a16:creationId xmlns:a16="http://schemas.microsoft.com/office/drawing/2014/main" id="{31CC0BB2-D270-45FA-B36D-7DA74555A1C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719513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CuadroTexto 64">
            <a:extLst>
              <a:ext uri="{FF2B5EF4-FFF2-40B4-BE49-F238E27FC236}">
                <a16:creationId xmlns:a16="http://schemas.microsoft.com/office/drawing/2014/main" id="{A837BAC7-8936-49B2-AA16-4D8D20EFE2F7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CuadroTexto 64">
            <a:extLst>
              <a:ext uri="{FF2B5EF4-FFF2-40B4-BE49-F238E27FC236}">
                <a16:creationId xmlns:a16="http://schemas.microsoft.com/office/drawing/2014/main" id="{6D9740EA-CDAD-4A7D-AE29-2A54AF22C3DE}"/>
              </a:ext>
            </a:extLst>
          </p:cNvPr>
          <p:cNvSpPr txBox="1"/>
          <p:nvPr userDrawn="1"/>
        </p:nvSpPr>
        <p:spPr>
          <a:xfrm>
            <a:off x="10878986" y="6452363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71272047-0056-4EE1-A4F6-E1D3A6CAF5C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404704" y="722639"/>
            <a:ext cx="7410355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5227E7B1-E64E-4361-8C90-AF5798192F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3724" y="252000"/>
            <a:ext cx="7411475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AD02DA-5F23-483C-A16A-DBBC02B6F52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9598CED-89EA-4017-8598-4A371CA426F0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3B1909-F23A-4E60-A0A3-91D51F8D9BDD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3E7BDE0-37AF-407E-8E05-D26E3337DEB3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D00A97D-5B53-4014-9B69-DC2EF4F0B8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35975" y="1393825"/>
            <a:ext cx="3379084" cy="4752000"/>
          </a:xfrm>
          <a:prstGeom prst="rect">
            <a:avLst/>
          </a:prstGeo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lang="en-US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36520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438775-9777-4BD0-8C61-3EC57CD45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6183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438775-9777-4BD0-8C61-3EC57CD45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315B50-F7B9-47D3-9FA3-225AE367F6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D143ED73-AA34-4057-A898-E1A20B1D6F7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419630-CD11-4BD6-A599-A739295FC2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8790" y="1776713"/>
            <a:ext cx="11449050" cy="4372087"/>
          </a:xfrm>
          <a:prstGeom prst="rect">
            <a:avLst/>
          </a:prstGeom>
        </p:spPr>
        <p:txBody>
          <a:bodyPr tIns="0" bIns="0"/>
          <a:lstStyle>
            <a:lvl1pPr marL="228600" marR="0" indent="-22860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en-US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E28C07-1522-4E88-A499-483FDE05B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E715F2-57D0-425F-A875-1ECAF162EF16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74E51B-7476-4448-8BA1-6975A442E05A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5622F09-0B7F-4791-A9C0-E65C82B28D4C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9EDC81-847D-4D5C-BF48-51DA62795E1E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3F2F52B-1A4A-4EEC-A012-4C696AB8ADA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8790" y="1396916"/>
            <a:ext cx="11451735" cy="379797"/>
          </a:xfrm>
        </p:spPr>
        <p:txBody>
          <a:bodyPr/>
          <a:lstStyle>
            <a:lvl1pPr algn="l"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161140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BB24107-BC24-45BB-AE32-32C6F8F5A3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4241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BB24107-BC24-45BB-AE32-32C6F8F5A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D717FD98-2B95-44BA-BC0C-EB1047B76BD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51112F-9BAD-48C5-B608-6CC4C443BBB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8790" y="1396800"/>
            <a:ext cx="55584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7437AF-4A44-4163-AB95-7EF6E9F7C9A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58389" y="1396800"/>
            <a:ext cx="55584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A6703-8342-4D3E-AD5E-A4FDDC5E41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00830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D07FEBE3-747B-4665-A055-556C652FA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295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D07FEBE3-747B-4665-A055-556C652FA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D717FD98-2B95-44BA-BC0C-EB1047B76BD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51112F-9BAD-48C5-B608-6CC4C443BBB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8790" y="1396800"/>
            <a:ext cx="35280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7437AF-4A44-4163-AB95-7EF6E9F7C9A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7995" y="1396800"/>
            <a:ext cx="35280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968F78-FD81-46DC-A3E5-E6D22032C66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87200" y="1396800"/>
            <a:ext cx="35280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6CC9CF0-06ED-404C-9617-D1C524E2D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3" name="Straight Connector 15">
            <a:extLst>
              <a:ext uri="{FF2B5EF4-FFF2-40B4-BE49-F238E27FC236}">
                <a16:creationId xmlns:a16="http://schemas.microsoft.com/office/drawing/2014/main" id="{FD89F59F-88BF-4FA3-B70A-AC7165A9585F}"/>
              </a:ext>
            </a:extLst>
          </p:cNvPr>
          <p:cNvCxnSpPr>
            <a:cxnSpLocks/>
          </p:cNvCxnSpPr>
          <p:nvPr userDrawn="1"/>
        </p:nvCxnSpPr>
        <p:spPr>
          <a:xfrm>
            <a:off x="4112392" y="1463040"/>
            <a:ext cx="0" cy="4672321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364FE16-2E21-461E-8CC5-237E08C8DF22}"/>
              </a:ext>
            </a:extLst>
          </p:cNvPr>
          <p:cNvCxnSpPr>
            <a:cxnSpLocks/>
          </p:cNvCxnSpPr>
          <p:nvPr userDrawn="1"/>
        </p:nvCxnSpPr>
        <p:spPr>
          <a:xfrm>
            <a:off x="8071598" y="1463040"/>
            <a:ext cx="0" cy="4672321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4577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D07FEBE3-747B-4665-A055-556C652FA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777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D07FEBE3-747B-4665-A055-556C652FA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D717FD98-2B95-44BA-BC0C-EB1047B76BD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51112F-9BAD-48C5-B608-6CC4C443BBB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8790" y="2034540"/>
            <a:ext cx="3352313" cy="324000"/>
          </a:xfrm>
        </p:spPr>
        <p:txBody>
          <a:bodyPr/>
          <a:lstStyle>
            <a:lvl1pPr algn="ctr"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7437AF-4A44-4163-AB95-7EF6E9F7C9A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05315" y="2034540"/>
            <a:ext cx="3384550" cy="324000"/>
          </a:xfrm>
        </p:spPr>
        <p:txBody>
          <a:bodyPr/>
          <a:lstStyle>
            <a:lvl1pPr algn="ctr"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968F78-FD81-46DC-A3E5-E6D22032C66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30650" y="2034540"/>
            <a:ext cx="3384549" cy="324000"/>
          </a:xfrm>
        </p:spPr>
        <p:txBody>
          <a:bodyPr/>
          <a:lstStyle>
            <a:lvl1pPr algn="ctr"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6CC9CF0-06ED-404C-9617-D1C524E2D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4A7114-B3F6-4260-81AB-216701F155F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67200" y="4302601"/>
            <a:ext cx="3352313" cy="324000"/>
          </a:xfrm>
        </p:spPr>
        <p:txBody>
          <a:bodyPr/>
          <a:lstStyle>
            <a:lvl1pPr algn="ctr"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4A529B1-D81B-4DB1-8A08-6F6434DDBD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403725" y="4302601"/>
            <a:ext cx="3384550" cy="324000"/>
          </a:xfrm>
        </p:spPr>
        <p:txBody>
          <a:bodyPr/>
          <a:lstStyle>
            <a:lvl1pPr algn="ctr"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3D3D3DF-31AB-4A12-B7EB-E43F516F698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429060" y="4302601"/>
            <a:ext cx="3384549" cy="324000"/>
          </a:xfrm>
        </p:spPr>
        <p:txBody>
          <a:bodyPr/>
          <a:lstStyle>
            <a:lvl1pPr algn="ctr"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53D0B6C-40C1-4650-90D3-7F21E67B336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7200" y="2384261"/>
            <a:ext cx="3352313" cy="324000"/>
          </a:xfrm>
        </p:spPr>
        <p:txBody>
          <a:bodyPr/>
          <a:lstStyle>
            <a:lvl1pPr algn="ctr"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71D6E23D-172A-4F85-9057-2BF9F656CE0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403725" y="2384261"/>
            <a:ext cx="3384550" cy="324000"/>
          </a:xfrm>
        </p:spPr>
        <p:txBody>
          <a:bodyPr/>
          <a:lstStyle>
            <a:lvl1pPr algn="ctr"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8A280D74-4AF6-4540-823C-9C57F781EC9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429060" y="2384261"/>
            <a:ext cx="3384549" cy="324000"/>
          </a:xfrm>
        </p:spPr>
        <p:txBody>
          <a:bodyPr/>
          <a:lstStyle>
            <a:lvl1pPr algn="ctr"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105582E-0B60-4316-9F79-49D82150FBD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610" y="4652322"/>
            <a:ext cx="3352313" cy="324000"/>
          </a:xfrm>
        </p:spPr>
        <p:txBody>
          <a:bodyPr/>
          <a:lstStyle>
            <a:lvl1pPr algn="ctr"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213C335-EBE2-46B0-949B-32EA4297CC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02135" y="4652322"/>
            <a:ext cx="3384550" cy="324000"/>
          </a:xfrm>
        </p:spPr>
        <p:txBody>
          <a:bodyPr/>
          <a:lstStyle>
            <a:lvl1pPr algn="ctr"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626DAC52-DAA8-4D0D-9EDB-C3A10110C58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427470" y="4652322"/>
            <a:ext cx="3384549" cy="324000"/>
          </a:xfrm>
        </p:spPr>
        <p:txBody>
          <a:bodyPr/>
          <a:lstStyle>
            <a:lvl1pPr algn="ctr"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155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 +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E86A160-91DB-4ED9-8E2E-A7237D94B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1826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E86A160-91DB-4ED9-8E2E-A7237D94B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2" descr="Body text will be presented like this">
            <a:extLst>
              <a:ext uri="{FF2B5EF4-FFF2-40B4-BE49-F238E27FC236}">
                <a16:creationId xmlns:a16="http://schemas.microsoft.com/office/drawing/2014/main" id="{222F074C-9474-1441-92BA-E96D35681F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8789" y="2944799"/>
            <a:ext cx="3528000" cy="3204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3A4609AB-7FB1-C44E-A15C-608F2716BFB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8789" y="2196000"/>
            <a:ext cx="3528000" cy="57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i="0">
                <a:solidFill>
                  <a:schemeClr val="accent1"/>
                </a:solidFill>
                <a:latin typeface="+mj-lt"/>
              </a:defRPr>
            </a:lvl1pPr>
            <a:lvl2pPr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0B5395A-6415-0C4F-ACC9-E6885B7E8F60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368789" y="1396800"/>
            <a:ext cx="1522202" cy="68777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600" b="1" i="0" spc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4" name="Marcador de texto 2">
            <a:extLst>
              <a:ext uri="{FF2B5EF4-FFF2-40B4-BE49-F238E27FC236}">
                <a16:creationId xmlns:a16="http://schemas.microsoft.com/office/drawing/2014/main" id="{590CA816-0573-4C31-B214-4DBD490C17CC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285712E-80BE-4E21-874E-35D05E89225C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4327995" y="1396800"/>
            <a:ext cx="1522202" cy="68777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600" b="1" i="0" spc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5" name="Text Placeholder 12" descr="Body text will be presented like this">
            <a:extLst>
              <a:ext uri="{FF2B5EF4-FFF2-40B4-BE49-F238E27FC236}">
                <a16:creationId xmlns:a16="http://schemas.microsoft.com/office/drawing/2014/main" id="{86FAD558-0B34-4904-946F-59FF6F2028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7995" y="2944799"/>
            <a:ext cx="3528000" cy="3204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FA37F7A4-1800-4DA5-9214-8AE28D3A2E7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27995" y="2196000"/>
            <a:ext cx="3528000" cy="57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i="0">
                <a:solidFill>
                  <a:schemeClr val="accent2"/>
                </a:solidFill>
                <a:latin typeface="+mj-lt"/>
              </a:defRPr>
            </a:lvl1pPr>
            <a:lvl2pPr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D14BFBC8-FBBA-4AB7-8DCC-7C10FD9D10DD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8287200" y="1396800"/>
            <a:ext cx="1522202" cy="68777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600" b="1" i="0" spc="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8" name="Text Placeholder 12" descr="Body text will be presented like this">
            <a:extLst>
              <a:ext uri="{FF2B5EF4-FFF2-40B4-BE49-F238E27FC236}">
                <a16:creationId xmlns:a16="http://schemas.microsoft.com/office/drawing/2014/main" id="{2B54DA73-0A92-47EA-B6B3-24D9A4A2FE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87200" y="2944799"/>
            <a:ext cx="3528000" cy="3204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8">
            <a:extLst>
              <a:ext uri="{FF2B5EF4-FFF2-40B4-BE49-F238E27FC236}">
                <a16:creationId xmlns:a16="http://schemas.microsoft.com/office/drawing/2014/main" id="{6114B90A-79C3-4FCC-BB74-C238A76DF9C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287200" y="2196000"/>
            <a:ext cx="3528000" cy="57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 i="0">
                <a:solidFill>
                  <a:schemeClr val="accent3"/>
                </a:solidFill>
                <a:latin typeface="+mj-lt"/>
              </a:defRPr>
            </a:lvl1pPr>
            <a:lvl2pPr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86186D-0D62-4F6A-AAC0-7967720E3A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309257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4 columns &amp;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712543-C931-4CDB-8C18-B6AF63B40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810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712543-C931-4CDB-8C18-B6AF63B4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ángulo 13">
            <a:extLst>
              <a:ext uri="{FF2B5EF4-FFF2-40B4-BE49-F238E27FC236}">
                <a16:creationId xmlns:a16="http://schemas.microsoft.com/office/drawing/2014/main" id="{0233A445-5D10-E144-B11F-2324AE2F4098}"/>
              </a:ext>
            </a:extLst>
          </p:cNvPr>
          <p:cNvSpPr/>
          <p:nvPr userDrawn="1"/>
        </p:nvSpPr>
        <p:spPr>
          <a:xfrm flipH="1">
            <a:off x="0" y="1396800"/>
            <a:ext cx="12192000" cy="475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Text Placeholder 12" descr="Body text will be presented like this">
            <a:extLst>
              <a:ext uri="{FF2B5EF4-FFF2-40B4-BE49-F238E27FC236}">
                <a16:creationId xmlns:a16="http://schemas.microsoft.com/office/drawing/2014/main" id="{222F074C-9474-1441-92BA-E96D35681F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8790" y="1684800"/>
            <a:ext cx="2628000" cy="4176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 descr="Body text will be presented like this">
            <a:extLst>
              <a:ext uri="{FF2B5EF4-FFF2-40B4-BE49-F238E27FC236}">
                <a16:creationId xmlns:a16="http://schemas.microsoft.com/office/drawing/2014/main" id="{E123D2C1-20C7-B24D-B631-0B216E71BB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08260" y="1684800"/>
            <a:ext cx="2628000" cy="4176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 descr="Body text will be presented like this">
            <a:extLst>
              <a:ext uri="{FF2B5EF4-FFF2-40B4-BE49-F238E27FC236}">
                <a16:creationId xmlns:a16="http://schemas.microsoft.com/office/drawing/2014/main" id="{4EBFC386-3520-B542-A356-7958C9441B9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7730" y="1684800"/>
            <a:ext cx="2628000" cy="4176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2" descr="Body text will be presented like this">
            <a:extLst>
              <a:ext uri="{FF2B5EF4-FFF2-40B4-BE49-F238E27FC236}">
                <a16:creationId xmlns:a16="http://schemas.microsoft.com/office/drawing/2014/main" id="{B39FD9AC-9727-2A48-88FA-87D0E68DBD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87200" y="1684800"/>
            <a:ext cx="2628000" cy="4176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3F0C780B-1E6E-4C86-B20D-A99207ADDDEE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24014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E7489F-CE52-4DFB-AA46-1322AC079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6308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712543-C931-4CDB-8C18-B6AF63B40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414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712543-C931-4CDB-8C18-B6AF63B4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3F0C780B-1E6E-4C86-B20D-A99207ADDDEE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24014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E7489F-CE52-4DFB-AA46-1322AC079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Marcador de texto 3">
            <a:extLst>
              <a:ext uri="{FF2B5EF4-FFF2-40B4-BE49-F238E27FC236}">
                <a16:creationId xmlns:a16="http://schemas.microsoft.com/office/drawing/2014/main" id="{0C49E653-61AB-48B8-9785-162E18035F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333" y="3774087"/>
            <a:ext cx="1905668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rgbClr val="DA291C"/>
                </a:solidFill>
                <a:latin typeface="+mj-lt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A66AF26-BD64-4A02-B322-7168C7222F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8790" y="4090931"/>
            <a:ext cx="1911139" cy="32040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EAE9864-12F5-4411-80F9-60E742D614A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7200" y="4571531"/>
            <a:ext cx="1911139" cy="320400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BF0ACD57-68A3-4F4B-8D46-AB173F72D4A6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380334" y="1610580"/>
            <a:ext cx="1905668" cy="190566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sp>
        <p:nvSpPr>
          <p:cNvPr id="23" name="Marcador de texto 3">
            <a:extLst>
              <a:ext uri="{FF2B5EF4-FFF2-40B4-BE49-F238E27FC236}">
                <a16:creationId xmlns:a16="http://schemas.microsoft.com/office/drawing/2014/main" id="{B2615C21-B865-493A-A609-CEA33678B69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777076" y="3774087"/>
            <a:ext cx="1905668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rgbClr val="DA291C"/>
                </a:solidFill>
                <a:latin typeface="+mj-lt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6E0F5BF-7F55-4F2F-835C-C9483763A4E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765533" y="4090931"/>
            <a:ext cx="1911139" cy="32040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BFA52962-93FE-479B-9C23-496A842C75F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2763943" y="4571531"/>
            <a:ext cx="1911139" cy="320400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9374E478-A589-44D9-95BF-941C56606E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64893" y="3774087"/>
            <a:ext cx="1905668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rgbClr val="DA291C"/>
                </a:solidFill>
                <a:latin typeface="+mj-lt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86B245A-78BF-428A-89B5-1291FF0856CD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153350" y="4090931"/>
            <a:ext cx="1911139" cy="32040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F9F295AE-60AC-46EA-813A-91CA58A38AD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5151760" y="4571531"/>
            <a:ext cx="1911139" cy="320400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33" name="Marcador de texto 3">
            <a:extLst>
              <a:ext uri="{FF2B5EF4-FFF2-40B4-BE49-F238E27FC236}">
                <a16:creationId xmlns:a16="http://schemas.microsoft.com/office/drawing/2014/main" id="{429AF4EC-4ECF-45FD-81B9-6BB2E0BB724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518180" y="3774087"/>
            <a:ext cx="1905668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rgbClr val="DA291C"/>
                </a:solidFill>
                <a:latin typeface="+mj-lt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927241F-B0ED-471B-9A04-E5C8EDCCD84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506637" y="4094487"/>
            <a:ext cx="1911139" cy="32040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481F0965-84DB-441B-A919-9EB8F9A9522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505047" y="4575087"/>
            <a:ext cx="1911139" cy="320400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37" name="Marcador de texto 3">
            <a:extLst>
              <a:ext uri="{FF2B5EF4-FFF2-40B4-BE49-F238E27FC236}">
                <a16:creationId xmlns:a16="http://schemas.microsoft.com/office/drawing/2014/main" id="{DF1426F8-ECFC-437E-9694-A0D593323E4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905997" y="3774087"/>
            <a:ext cx="1905668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rgbClr val="DA291C"/>
                </a:solidFill>
                <a:latin typeface="+mj-lt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23BEDB5C-F691-4801-95E9-B3AD4EF56B8E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894454" y="4094487"/>
            <a:ext cx="1911139" cy="32040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D9E6FC8A-0FF6-47BA-AF19-9D4278857684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892864" y="4575087"/>
            <a:ext cx="1911139" cy="320400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2D16484-7E8D-4B41-8F72-7DCD4D01B856}"/>
              </a:ext>
            </a:extLst>
          </p:cNvPr>
          <p:cNvGrpSpPr/>
          <p:nvPr userDrawn="1"/>
        </p:nvGrpSpPr>
        <p:grpSpPr>
          <a:xfrm>
            <a:off x="2515087" y="1393826"/>
            <a:ext cx="7130006" cy="3017505"/>
            <a:chOff x="2515087" y="1610580"/>
            <a:chExt cx="7130006" cy="3284907"/>
          </a:xfrm>
        </p:grpSpPr>
        <p:cxnSp>
          <p:nvCxnSpPr>
            <p:cNvPr id="32" name="Straight Connector 15">
              <a:extLst>
                <a:ext uri="{FF2B5EF4-FFF2-40B4-BE49-F238E27FC236}">
                  <a16:creationId xmlns:a16="http://schemas.microsoft.com/office/drawing/2014/main" id="{62EFDC07-05CE-40E0-BBF2-3F5FE4F2BFA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515087" y="1610580"/>
              <a:ext cx="0" cy="3281351"/>
            </a:xfrm>
            <a:prstGeom prst="line">
              <a:avLst/>
            </a:prstGeom>
            <a:ln>
              <a:solidFill>
                <a:srgbClr val="DA281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15">
              <a:extLst>
                <a:ext uri="{FF2B5EF4-FFF2-40B4-BE49-F238E27FC236}">
                  <a16:creationId xmlns:a16="http://schemas.microsoft.com/office/drawing/2014/main" id="{751022F7-67C4-44EC-B85A-6CC9CBA4E48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18763" y="1614136"/>
              <a:ext cx="0" cy="3281351"/>
            </a:xfrm>
            <a:prstGeom prst="line">
              <a:avLst/>
            </a:prstGeom>
            <a:ln>
              <a:solidFill>
                <a:srgbClr val="DA281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15">
              <a:extLst>
                <a:ext uri="{FF2B5EF4-FFF2-40B4-BE49-F238E27FC236}">
                  <a16:creationId xmlns:a16="http://schemas.microsoft.com/office/drawing/2014/main" id="{0C40ABE0-56FD-4F90-B5C1-30846769BC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287715" y="1614136"/>
              <a:ext cx="0" cy="3281351"/>
            </a:xfrm>
            <a:prstGeom prst="line">
              <a:avLst/>
            </a:prstGeom>
            <a:ln>
              <a:solidFill>
                <a:srgbClr val="DA281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15">
              <a:extLst>
                <a:ext uri="{FF2B5EF4-FFF2-40B4-BE49-F238E27FC236}">
                  <a16:creationId xmlns:a16="http://schemas.microsoft.com/office/drawing/2014/main" id="{592E433E-C13F-44B3-B442-1FA9152C06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45093" y="1610580"/>
              <a:ext cx="0" cy="3281351"/>
            </a:xfrm>
            <a:prstGeom prst="line">
              <a:avLst/>
            </a:prstGeom>
            <a:ln>
              <a:solidFill>
                <a:srgbClr val="DA281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Picture Placeholder 5">
            <a:extLst>
              <a:ext uri="{FF2B5EF4-FFF2-40B4-BE49-F238E27FC236}">
                <a16:creationId xmlns:a16="http://schemas.microsoft.com/office/drawing/2014/main" id="{641C083B-D083-41C9-853F-A2EF50EC7E2F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2778509" y="1523332"/>
            <a:ext cx="1905668" cy="190566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sp>
        <p:nvSpPr>
          <p:cNvPr id="47" name="Picture Placeholder 5">
            <a:extLst>
              <a:ext uri="{FF2B5EF4-FFF2-40B4-BE49-F238E27FC236}">
                <a16:creationId xmlns:a16="http://schemas.microsoft.com/office/drawing/2014/main" id="{CF257D79-2F30-471E-9052-D060FB7742E4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5164893" y="1523332"/>
            <a:ext cx="1905668" cy="190566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sp>
        <p:nvSpPr>
          <p:cNvPr id="48" name="Picture Placeholder 5">
            <a:extLst>
              <a:ext uri="{FF2B5EF4-FFF2-40B4-BE49-F238E27FC236}">
                <a16:creationId xmlns:a16="http://schemas.microsoft.com/office/drawing/2014/main" id="{570866A8-28A8-4BF0-88CE-1F0D0D0FECD1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7504870" y="1523332"/>
            <a:ext cx="1905668" cy="1905668"/>
          </a:xfrm>
          <a:prstGeom prst="flowChartConnector">
            <a:avLst/>
          </a:prstGeom>
          <a:ln>
            <a:solidFill>
              <a:srgbClr val="DA281C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49" name="Picture Placeholder 5">
            <a:extLst>
              <a:ext uri="{FF2B5EF4-FFF2-40B4-BE49-F238E27FC236}">
                <a16:creationId xmlns:a16="http://schemas.microsoft.com/office/drawing/2014/main" id="{BC03A5DF-5669-49F5-A317-7031368E8C93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898335" y="1523332"/>
            <a:ext cx="1905668" cy="190566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</p:spTree>
    <p:extLst>
      <p:ext uri="{BB962C8B-B14F-4D97-AF65-F5344CB8AC3E}">
        <p14:creationId xmlns:p14="http://schemas.microsoft.com/office/powerpoint/2010/main" val="2857182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712543-C931-4CDB-8C18-B6AF63B40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32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712543-C931-4CDB-8C18-B6AF63B4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3F0C780B-1E6E-4C86-B20D-A99207ADDDEE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24014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E7489F-CE52-4DFB-AA46-1322AC079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Marcador de texto 3">
            <a:extLst>
              <a:ext uri="{FF2B5EF4-FFF2-40B4-BE49-F238E27FC236}">
                <a16:creationId xmlns:a16="http://schemas.microsoft.com/office/drawing/2014/main" id="{0C49E653-61AB-48B8-9785-162E18035F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66737" y="1962538"/>
            <a:ext cx="2158119" cy="355489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rgbClr val="DA291C"/>
                </a:solidFill>
                <a:latin typeface="+mj-lt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A66AF26-BD64-4A02-B322-7168C7222F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55195" y="2282938"/>
            <a:ext cx="2164315" cy="355489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EAE9864-12F5-4411-80F9-60E742D614A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55195" y="2753237"/>
            <a:ext cx="2164314" cy="320400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BF0ACD57-68A3-4F4B-8D46-AB173F72D4A6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380334" y="1962539"/>
            <a:ext cx="1026258" cy="102625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cxnSp>
        <p:nvCxnSpPr>
          <p:cNvPr id="32" name="Straight Connector 15">
            <a:extLst>
              <a:ext uri="{FF2B5EF4-FFF2-40B4-BE49-F238E27FC236}">
                <a16:creationId xmlns:a16="http://schemas.microsoft.com/office/drawing/2014/main" id="{62EFDC07-05CE-40E0-BBF2-3F5FE4F2BFA4}"/>
              </a:ext>
            </a:extLst>
          </p:cNvPr>
          <p:cNvCxnSpPr>
            <a:cxnSpLocks/>
          </p:cNvCxnSpPr>
          <p:nvPr userDrawn="1"/>
        </p:nvCxnSpPr>
        <p:spPr>
          <a:xfrm>
            <a:off x="4050698" y="1830625"/>
            <a:ext cx="0" cy="1243012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Marcador de texto 3">
            <a:extLst>
              <a:ext uri="{FF2B5EF4-FFF2-40B4-BE49-F238E27FC236}">
                <a16:creationId xmlns:a16="http://schemas.microsoft.com/office/drawing/2014/main" id="{BCE3AAE0-D369-4315-94A2-F25C633DE52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635764" y="1962538"/>
            <a:ext cx="2158119" cy="355489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rgbClr val="DA291C"/>
                </a:solidFill>
                <a:latin typeface="+mj-lt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D95CA2C9-7129-49C4-A812-F443EBFE348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624222" y="2282938"/>
            <a:ext cx="2164315" cy="355489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FB42D584-A464-4550-AF4B-E8AE0BF08D9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624222" y="2753237"/>
            <a:ext cx="2164314" cy="320400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44" name="Picture Placeholder 5">
            <a:extLst>
              <a:ext uri="{FF2B5EF4-FFF2-40B4-BE49-F238E27FC236}">
                <a16:creationId xmlns:a16="http://schemas.microsoft.com/office/drawing/2014/main" id="{C35F13F6-0C27-4114-A91D-DC0B7873BD22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449361" y="1962539"/>
            <a:ext cx="1026258" cy="102625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cxnSp>
        <p:nvCxnSpPr>
          <p:cNvPr id="45" name="Straight Connector 15">
            <a:extLst>
              <a:ext uri="{FF2B5EF4-FFF2-40B4-BE49-F238E27FC236}">
                <a16:creationId xmlns:a16="http://schemas.microsoft.com/office/drawing/2014/main" id="{65D29506-A892-4E70-846E-86CD1E28D86E}"/>
              </a:ext>
            </a:extLst>
          </p:cNvPr>
          <p:cNvCxnSpPr>
            <a:cxnSpLocks/>
          </p:cNvCxnSpPr>
          <p:nvPr userDrawn="1"/>
        </p:nvCxnSpPr>
        <p:spPr>
          <a:xfrm>
            <a:off x="8119725" y="1830625"/>
            <a:ext cx="0" cy="1243012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Marcador de texto 3">
            <a:extLst>
              <a:ext uri="{FF2B5EF4-FFF2-40B4-BE49-F238E27FC236}">
                <a16:creationId xmlns:a16="http://schemas.microsoft.com/office/drawing/2014/main" id="{0E31059C-E567-413E-B7CE-10A5CD9A9D8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662406" y="1957297"/>
            <a:ext cx="2158119" cy="355489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rgbClr val="DA291C"/>
                </a:solidFill>
                <a:latin typeface="+mj-lt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23D21ECC-9BE4-41DE-A2A6-E5D6E845B01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650864" y="2277697"/>
            <a:ext cx="2164315" cy="355489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B8686ED0-9DF8-45C5-8455-D3EE5E06422C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9650864" y="2747996"/>
            <a:ext cx="2164314" cy="320400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53" name="Picture Placeholder 5">
            <a:extLst>
              <a:ext uri="{FF2B5EF4-FFF2-40B4-BE49-F238E27FC236}">
                <a16:creationId xmlns:a16="http://schemas.microsoft.com/office/drawing/2014/main" id="{C070D455-0FFF-40E8-98DE-98F27F76D062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8476003" y="1957298"/>
            <a:ext cx="1026258" cy="102625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sp>
        <p:nvSpPr>
          <p:cNvPr id="54" name="Marcador de texto 3">
            <a:extLst>
              <a:ext uri="{FF2B5EF4-FFF2-40B4-BE49-F238E27FC236}">
                <a16:creationId xmlns:a16="http://schemas.microsoft.com/office/drawing/2014/main" id="{30B2BE68-84A6-4D3D-92AF-CD4AF8BB1E8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561412" y="3902474"/>
            <a:ext cx="2158119" cy="355489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rgbClr val="DA291C"/>
                </a:solidFill>
                <a:latin typeface="+mj-lt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369E918D-E244-40ED-BC9D-84A49D09663E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549870" y="4222874"/>
            <a:ext cx="2164315" cy="355489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F04FE272-AEEE-4C91-8BD6-85896A1F2AB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1549870" y="4693173"/>
            <a:ext cx="2164314" cy="320400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57" name="Picture Placeholder 5">
            <a:extLst>
              <a:ext uri="{FF2B5EF4-FFF2-40B4-BE49-F238E27FC236}">
                <a16:creationId xmlns:a16="http://schemas.microsoft.com/office/drawing/2014/main" id="{F9BBDF2E-3D99-40C0-AA28-A5CBB3739FAD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375009" y="3902475"/>
            <a:ext cx="1026258" cy="102625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cxnSp>
        <p:nvCxnSpPr>
          <p:cNvPr id="58" name="Straight Connector 15">
            <a:extLst>
              <a:ext uri="{FF2B5EF4-FFF2-40B4-BE49-F238E27FC236}">
                <a16:creationId xmlns:a16="http://schemas.microsoft.com/office/drawing/2014/main" id="{546AEE6F-35AE-452B-8B45-2A2DC0663862}"/>
              </a:ext>
            </a:extLst>
          </p:cNvPr>
          <p:cNvCxnSpPr>
            <a:cxnSpLocks/>
          </p:cNvCxnSpPr>
          <p:nvPr userDrawn="1"/>
        </p:nvCxnSpPr>
        <p:spPr>
          <a:xfrm>
            <a:off x="4051160" y="3770561"/>
            <a:ext cx="0" cy="1243012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Marcador de texto 3">
            <a:extLst>
              <a:ext uri="{FF2B5EF4-FFF2-40B4-BE49-F238E27FC236}">
                <a16:creationId xmlns:a16="http://schemas.microsoft.com/office/drawing/2014/main" id="{E4F2953D-F85B-44C8-B6E7-ACCB8A7EEC9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630439" y="3902474"/>
            <a:ext cx="2158119" cy="355489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rgbClr val="DA291C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88C5B650-D6B6-492F-8E83-FCC0952F57B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618897" y="4222874"/>
            <a:ext cx="2164315" cy="355489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93E14614-8D44-4BA1-802C-8E0213E80C69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5618897" y="4693173"/>
            <a:ext cx="2164314" cy="320400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62" name="Picture Placeholder 5">
            <a:extLst>
              <a:ext uri="{FF2B5EF4-FFF2-40B4-BE49-F238E27FC236}">
                <a16:creationId xmlns:a16="http://schemas.microsoft.com/office/drawing/2014/main" id="{699203F9-C767-457D-8E27-BD83F0C8BECA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4444036" y="3902475"/>
            <a:ext cx="1026258" cy="102625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cxnSp>
        <p:nvCxnSpPr>
          <p:cNvPr id="63" name="Straight Connector 15">
            <a:extLst>
              <a:ext uri="{FF2B5EF4-FFF2-40B4-BE49-F238E27FC236}">
                <a16:creationId xmlns:a16="http://schemas.microsoft.com/office/drawing/2014/main" id="{8811FCA7-1BA7-4B13-B0C1-798561E239A0}"/>
              </a:ext>
            </a:extLst>
          </p:cNvPr>
          <p:cNvCxnSpPr>
            <a:cxnSpLocks/>
          </p:cNvCxnSpPr>
          <p:nvPr userDrawn="1"/>
        </p:nvCxnSpPr>
        <p:spPr>
          <a:xfrm>
            <a:off x="8120187" y="3770561"/>
            <a:ext cx="0" cy="1243012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Marcador de texto 3">
            <a:extLst>
              <a:ext uri="{FF2B5EF4-FFF2-40B4-BE49-F238E27FC236}">
                <a16:creationId xmlns:a16="http://schemas.microsoft.com/office/drawing/2014/main" id="{30DB3B35-EEBC-4B03-882E-F9026CB891DE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9657081" y="3897233"/>
            <a:ext cx="2158119" cy="355489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rgbClr val="DA291C"/>
                </a:solidFill>
                <a:latin typeface="+mj-lt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C236C68A-D994-4F97-A78F-B29EAD8DECF7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9645539" y="4217633"/>
            <a:ext cx="2164315" cy="355489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DE31CA3A-07C0-42D0-B758-A5DCBD8D7C4B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9645539" y="4687932"/>
            <a:ext cx="2164314" cy="320400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67" name="Picture Placeholder 5">
            <a:extLst>
              <a:ext uri="{FF2B5EF4-FFF2-40B4-BE49-F238E27FC236}">
                <a16:creationId xmlns:a16="http://schemas.microsoft.com/office/drawing/2014/main" id="{A68FAB44-DC1D-4ECB-9CFE-4B4B24D71893}"/>
              </a:ext>
            </a:extLst>
          </p:cNvPr>
          <p:cNvSpPr>
            <a:spLocks noGrp="1"/>
          </p:cNvSpPr>
          <p:nvPr>
            <p:ph type="pic" sz="quarter" idx="74"/>
          </p:nvPr>
        </p:nvSpPr>
        <p:spPr>
          <a:xfrm>
            <a:off x="8470678" y="3897234"/>
            <a:ext cx="1026258" cy="102625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</p:spTree>
    <p:extLst>
      <p:ext uri="{BB962C8B-B14F-4D97-AF65-F5344CB8AC3E}">
        <p14:creationId xmlns:p14="http://schemas.microsoft.com/office/powerpoint/2010/main" val="42022141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 rot="10800000">
            <a:off x="-8399" y="-1969"/>
            <a:ext cx="6114006" cy="6863178"/>
          </a:xfrm>
          <a:custGeom>
            <a:avLst/>
            <a:gdLst>
              <a:gd name="connsiteX0" fmla="*/ 0 w 3267919"/>
              <a:gd name="connsiteY0" fmla="*/ 0 h 6858000"/>
              <a:gd name="connsiteX1" fmla="*/ 3267919 w 3267919"/>
              <a:gd name="connsiteY1" fmla="*/ 0 h 6858000"/>
              <a:gd name="connsiteX2" fmla="*/ 3267919 w 3267919"/>
              <a:gd name="connsiteY2" fmla="*/ 6858000 h 6858000"/>
              <a:gd name="connsiteX3" fmla="*/ 0 w 3267919"/>
              <a:gd name="connsiteY3" fmla="*/ 6858000 h 6858000"/>
              <a:gd name="connsiteX4" fmla="*/ 0 w 3267919"/>
              <a:gd name="connsiteY4" fmla="*/ 0 h 6858000"/>
              <a:gd name="connsiteX0" fmla="*/ 2835797 w 6103716"/>
              <a:gd name="connsiteY0" fmla="*/ 0 h 6858000"/>
              <a:gd name="connsiteX1" fmla="*/ 6103716 w 6103716"/>
              <a:gd name="connsiteY1" fmla="*/ 0 h 6858000"/>
              <a:gd name="connsiteX2" fmla="*/ 6103716 w 6103716"/>
              <a:gd name="connsiteY2" fmla="*/ 6858000 h 6858000"/>
              <a:gd name="connsiteX3" fmla="*/ 0 w 6103716"/>
              <a:gd name="connsiteY3" fmla="*/ 6858000 h 6858000"/>
              <a:gd name="connsiteX4" fmla="*/ 2835797 w 6103716"/>
              <a:gd name="connsiteY4" fmla="*/ 0 h 6858000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6103716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7232248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6983416"/>
              <a:gd name="connsiteY0" fmla="*/ 0 h 6863788"/>
              <a:gd name="connsiteX1" fmla="*/ 5148805 w 6983416"/>
              <a:gd name="connsiteY1" fmla="*/ 0 h 6863788"/>
              <a:gd name="connsiteX2" fmla="*/ 6983392 w 6983416"/>
              <a:gd name="connsiteY2" fmla="*/ 6858000 h 6863788"/>
              <a:gd name="connsiteX3" fmla="*/ 0 w 6983416"/>
              <a:gd name="connsiteY3" fmla="*/ 6863788 h 6863788"/>
              <a:gd name="connsiteX4" fmla="*/ 2586941 w 6983416"/>
              <a:gd name="connsiteY4" fmla="*/ 0 h 6863788"/>
              <a:gd name="connsiteX0" fmla="*/ 2586941 w 6983421"/>
              <a:gd name="connsiteY0" fmla="*/ 0 h 6863788"/>
              <a:gd name="connsiteX1" fmla="*/ 5513407 w 6983421"/>
              <a:gd name="connsiteY1" fmla="*/ 0 h 6863788"/>
              <a:gd name="connsiteX2" fmla="*/ 6983392 w 6983421"/>
              <a:gd name="connsiteY2" fmla="*/ 6858000 h 6863788"/>
              <a:gd name="connsiteX3" fmla="*/ 0 w 6983421"/>
              <a:gd name="connsiteY3" fmla="*/ 6863788 h 6863788"/>
              <a:gd name="connsiteX4" fmla="*/ 2586941 w 6983421"/>
              <a:gd name="connsiteY4" fmla="*/ 0 h 6863788"/>
              <a:gd name="connsiteX0" fmla="*/ 2586941 w 5513407"/>
              <a:gd name="connsiteY0" fmla="*/ 0 h 6869575"/>
              <a:gd name="connsiteX1" fmla="*/ 5513407 w 5513407"/>
              <a:gd name="connsiteY1" fmla="*/ 0 h 6869575"/>
              <a:gd name="connsiteX2" fmla="*/ 5183529 w 5513407"/>
              <a:gd name="connsiteY2" fmla="*/ 6869575 h 6869575"/>
              <a:gd name="connsiteX3" fmla="*/ 0 w 5513407"/>
              <a:gd name="connsiteY3" fmla="*/ 6863788 h 6869575"/>
              <a:gd name="connsiteX4" fmla="*/ 2586941 w 5513407"/>
              <a:gd name="connsiteY4" fmla="*/ 0 h 6869575"/>
              <a:gd name="connsiteX0" fmla="*/ 2586941 w 5513407"/>
              <a:gd name="connsiteY0" fmla="*/ 0 h 6863788"/>
              <a:gd name="connsiteX1" fmla="*/ 5513407 w 5513407"/>
              <a:gd name="connsiteY1" fmla="*/ 0 h 6863788"/>
              <a:gd name="connsiteX2" fmla="*/ 5496045 w 5513407"/>
              <a:gd name="connsiteY2" fmla="*/ 6829064 h 6863788"/>
              <a:gd name="connsiteX3" fmla="*/ 0 w 5513407"/>
              <a:gd name="connsiteY3" fmla="*/ 6863788 h 6863788"/>
              <a:gd name="connsiteX4" fmla="*/ 2586941 w 5513407"/>
              <a:gd name="connsiteY4" fmla="*/ 0 h 6863788"/>
              <a:gd name="connsiteX0" fmla="*/ 2586941 w 5520913"/>
              <a:gd name="connsiteY0" fmla="*/ 0 h 6863788"/>
              <a:gd name="connsiteX1" fmla="*/ 5513407 w 5520913"/>
              <a:gd name="connsiteY1" fmla="*/ 0 h 6863788"/>
              <a:gd name="connsiteX2" fmla="*/ 5519195 w 5520913"/>
              <a:gd name="connsiteY2" fmla="*/ 6840638 h 6863788"/>
              <a:gd name="connsiteX3" fmla="*/ 0 w 5520913"/>
              <a:gd name="connsiteY3" fmla="*/ 6863788 h 6863788"/>
              <a:gd name="connsiteX4" fmla="*/ 2586941 w 5520913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52723 w 5509031"/>
              <a:gd name="connsiteY0" fmla="*/ 0 h 6852213"/>
              <a:gd name="connsiteX1" fmla="*/ 5479189 w 5509031"/>
              <a:gd name="connsiteY1" fmla="*/ 0 h 6852213"/>
              <a:gd name="connsiteX2" fmla="*/ 5508126 w 5509031"/>
              <a:gd name="connsiteY2" fmla="*/ 6852213 h 6852213"/>
              <a:gd name="connsiteX3" fmla="*/ 0 w 5509031"/>
              <a:gd name="connsiteY3" fmla="*/ 6789649 h 6852213"/>
              <a:gd name="connsiteX4" fmla="*/ 2552723 w 5509031"/>
              <a:gd name="connsiteY4" fmla="*/ 0 h 6852213"/>
              <a:gd name="connsiteX0" fmla="*/ 2552723 w 5494413"/>
              <a:gd name="connsiteY0" fmla="*/ 0 h 6789649"/>
              <a:gd name="connsiteX1" fmla="*/ 5479189 w 5494413"/>
              <a:gd name="connsiteY1" fmla="*/ 0 h 6789649"/>
              <a:gd name="connsiteX2" fmla="*/ 5493109 w 5494413"/>
              <a:gd name="connsiteY2" fmla="*/ 6606924 h 6789649"/>
              <a:gd name="connsiteX3" fmla="*/ 0 w 5494413"/>
              <a:gd name="connsiteY3" fmla="*/ 6789649 h 6789649"/>
              <a:gd name="connsiteX4" fmla="*/ 2552723 w 5494413"/>
              <a:gd name="connsiteY4" fmla="*/ 0 h 6789649"/>
              <a:gd name="connsiteX0" fmla="*/ 2552723 w 5479189"/>
              <a:gd name="connsiteY0" fmla="*/ 0 h 6789649"/>
              <a:gd name="connsiteX1" fmla="*/ 5479189 w 5479189"/>
              <a:gd name="connsiteY1" fmla="*/ 0 h 6789649"/>
              <a:gd name="connsiteX2" fmla="*/ 5433038 w 5479189"/>
              <a:gd name="connsiteY2" fmla="*/ 6757102 h 6789649"/>
              <a:gd name="connsiteX3" fmla="*/ 0 w 5479189"/>
              <a:gd name="connsiteY3" fmla="*/ 6789649 h 6789649"/>
              <a:gd name="connsiteX4" fmla="*/ 2552723 w 5479189"/>
              <a:gd name="connsiteY4" fmla="*/ 0 h 6789649"/>
              <a:gd name="connsiteX0" fmla="*/ 3088411 w 6014877"/>
              <a:gd name="connsiteY0" fmla="*/ 0 h 6757102"/>
              <a:gd name="connsiteX1" fmla="*/ 6014877 w 6014877"/>
              <a:gd name="connsiteY1" fmla="*/ 0 h 6757102"/>
              <a:gd name="connsiteX2" fmla="*/ 5968726 w 6014877"/>
              <a:gd name="connsiteY2" fmla="*/ 6757102 h 6757102"/>
              <a:gd name="connsiteX3" fmla="*/ 0 w 6014877"/>
              <a:gd name="connsiteY3" fmla="*/ 6737568 h 6757102"/>
              <a:gd name="connsiteX4" fmla="*/ 3088411 w 6014877"/>
              <a:gd name="connsiteY4" fmla="*/ 0 h 6757102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46405 w 6014877"/>
              <a:gd name="connsiteY2" fmla="*/ 6593419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38965 w 6014877"/>
              <a:gd name="connsiteY2" fmla="*/ 6727341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46405 w 6014877"/>
              <a:gd name="connsiteY2" fmla="*/ 6712461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35104 w 6014877"/>
              <a:gd name="connsiteY2" fmla="*/ 6729413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52057 w 6014877"/>
              <a:gd name="connsiteY2" fmla="*/ 6729413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2534640 w 6014877"/>
              <a:gd name="connsiteY0" fmla="*/ 11302 h 6737568"/>
              <a:gd name="connsiteX1" fmla="*/ 6014877 w 6014877"/>
              <a:gd name="connsiteY1" fmla="*/ 0 h 6737568"/>
              <a:gd name="connsiteX2" fmla="*/ 5952057 w 6014877"/>
              <a:gd name="connsiteY2" fmla="*/ 6729413 h 6737568"/>
              <a:gd name="connsiteX3" fmla="*/ 0 w 6014877"/>
              <a:gd name="connsiteY3" fmla="*/ 6737568 h 6737568"/>
              <a:gd name="connsiteX4" fmla="*/ 2534640 w 6014877"/>
              <a:gd name="connsiteY4" fmla="*/ 11302 h 6737568"/>
              <a:gd name="connsiteX0" fmla="*/ 2534640 w 5954363"/>
              <a:gd name="connsiteY0" fmla="*/ 0 h 6726266"/>
              <a:gd name="connsiteX1" fmla="*/ 5952719 w 5954363"/>
              <a:gd name="connsiteY1" fmla="*/ 11301 h 6726266"/>
              <a:gd name="connsiteX2" fmla="*/ 5952057 w 5954363"/>
              <a:gd name="connsiteY2" fmla="*/ 6718111 h 6726266"/>
              <a:gd name="connsiteX3" fmla="*/ 0 w 5954363"/>
              <a:gd name="connsiteY3" fmla="*/ 6726266 h 6726266"/>
              <a:gd name="connsiteX4" fmla="*/ 2534640 w 5954363"/>
              <a:gd name="connsiteY4" fmla="*/ 0 h 6726266"/>
              <a:gd name="connsiteX0" fmla="*/ 2534640 w 5952207"/>
              <a:gd name="connsiteY0" fmla="*/ 0 h 6726266"/>
              <a:gd name="connsiteX1" fmla="*/ 5675834 w 5952207"/>
              <a:gd name="connsiteY1" fmla="*/ 118664 h 6726266"/>
              <a:gd name="connsiteX2" fmla="*/ 5952057 w 5952207"/>
              <a:gd name="connsiteY2" fmla="*/ 6718111 h 6726266"/>
              <a:gd name="connsiteX3" fmla="*/ 0 w 5952207"/>
              <a:gd name="connsiteY3" fmla="*/ 6726266 h 6726266"/>
              <a:gd name="connsiteX4" fmla="*/ 2534640 w 5952207"/>
              <a:gd name="connsiteY4" fmla="*/ 0 h 6726266"/>
              <a:gd name="connsiteX0" fmla="*/ 2534640 w 5958370"/>
              <a:gd name="connsiteY0" fmla="*/ 0 h 6726266"/>
              <a:gd name="connsiteX1" fmla="*/ 5958370 w 5958370"/>
              <a:gd name="connsiteY1" fmla="*/ 28253 h 6726266"/>
              <a:gd name="connsiteX2" fmla="*/ 5952057 w 5958370"/>
              <a:gd name="connsiteY2" fmla="*/ 6718111 h 6726266"/>
              <a:gd name="connsiteX3" fmla="*/ 0 w 5958370"/>
              <a:gd name="connsiteY3" fmla="*/ 6726266 h 6726266"/>
              <a:gd name="connsiteX4" fmla="*/ 2534640 w 5958370"/>
              <a:gd name="connsiteY4" fmla="*/ 0 h 6726266"/>
              <a:gd name="connsiteX0" fmla="*/ 2574194 w 5958370"/>
              <a:gd name="connsiteY0" fmla="*/ 50857 h 6698013"/>
              <a:gd name="connsiteX1" fmla="*/ 5958370 w 5958370"/>
              <a:gd name="connsiteY1" fmla="*/ 0 h 6698013"/>
              <a:gd name="connsiteX2" fmla="*/ 5952057 w 5958370"/>
              <a:gd name="connsiteY2" fmla="*/ 6689858 h 6698013"/>
              <a:gd name="connsiteX3" fmla="*/ 0 w 5958370"/>
              <a:gd name="connsiteY3" fmla="*/ 6698013 h 6698013"/>
              <a:gd name="connsiteX4" fmla="*/ 2574194 w 5958370"/>
              <a:gd name="connsiteY4" fmla="*/ 50857 h 6698013"/>
              <a:gd name="connsiteX0" fmla="*/ 2534640 w 5958370"/>
              <a:gd name="connsiteY0" fmla="*/ 0 h 6709314"/>
              <a:gd name="connsiteX1" fmla="*/ 5958370 w 5958370"/>
              <a:gd name="connsiteY1" fmla="*/ 11301 h 6709314"/>
              <a:gd name="connsiteX2" fmla="*/ 5952057 w 5958370"/>
              <a:gd name="connsiteY2" fmla="*/ 6701159 h 6709314"/>
              <a:gd name="connsiteX3" fmla="*/ 0 w 5958370"/>
              <a:gd name="connsiteY3" fmla="*/ 6709314 h 6709314"/>
              <a:gd name="connsiteX4" fmla="*/ 2534640 w 5958370"/>
              <a:gd name="connsiteY4" fmla="*/ 0 h 6709314"/>
              <a:gd name="connsiteX0" fmla="*/ 2545942 w 5969672"/>
              <a:gd name="connsiteY0" fmla="*/ 0 h 6701159"/>
              <a:gd name="connsiteX1" fmla="*/ 5969672 w 5969672"/>
              <a:gd name="connsiteY1" fmla="*/ 11301 h 6701159"/>
              <a:gd name="connsiteX2" fmla="*/ 5963359 w 5969672"/>
              <a:gd name="connsiteY2" fmla="*/ 6701159 h 6701159"/>
              <a:gd name="connsiteX3" fmla="*/ 0 w 5969672"/>
              <a:gd name="connsiteY3" fmla="*/ 6698012 h 6701159"/>
              <a:gd name="connsiteX4" fmla="*/ 2545942 w 5969672"/>
              <a:gd name="connsiteY4" fmla="*/ 0 h 6701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69672" h="6701159">
                <a:moveTo>
                  <a:pt x="2545942" y="0"/>
                </a:moveTo>
                <a:lnTo>
                  <a:pt x="5969672" y="11301"/>
                </a:lnTo>
                <a:cubicBezTo>
                  <a:pt x="5961956" y="2299230"/>
                  <a:pt x="5971075" y="4413230"/>
                  <a:pt x="5963359" y="6701159"/>
                </a:cubicBezTo>
                <a:lnTo>
                  <a:pt x="0" y="6698012"/>
                </a:lnTo>
                <a:lnTo>
                  <a:pt x="2545942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2090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6664" y="1973484"/>
            <a:ext cx="3342849" cy="2540643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074" y="252000"/>
            <a:ext cx="4028652" cy="4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633D098-B8C0-4C54-8883-C95D031F0CA0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7" name="Marcador de texto 3">
            <a:extLst>
              <a:ext uri="{FF2B5EF4-FFF2-40B4-BE49-F238E27FC236}">
                <a16:creationId xmlns:a16="http://schemas.microsoft.com/office/drawing/2014/main" id="{32DFA04D-5523-4069-B6BB-7EFFAC9E1C5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64893" y="4228281"/>
            <a:ext cx="1905668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rgbClr val="DA291C"/>
                </a:solidFill>
                <a:latin typeface="+mj-lt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B84400EA-2732-41DF-AAA0-2F83D4322FB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153350" y="4548681"/>
            <a:ext cx="1911139" cy="32040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C6D23C22-8F7E-4F84-A73B-496E66852871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5151760" y="5029281"/>
            <a:ext cx="1911139" cy="320400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24" name="Marcador de texto 3">
            <a:extLst>
              <a:ext uri="{FF2B5EF4-FFF2-40B4-BE49-F238E27FC236}">
                <a16:creationId xmlns:a16="http://schemas.microsoft.com/office/drawing/2014/main" id="{0C848B65-DBFF-4B66-B63B-523E596907C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518180" y="4231837"/>
            <a:ext cx="1905668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rgbClr val="DA291C"/>
                </a:solidFill>
                <a:latin typeface="+mj-lt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301CE55-8097-4098-9D4B-E0B2F39F30A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506637" y="4552237"/>
            <a:ext cx="1911139" cy="32040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8906D81-7376-4EA7-91AB-6A9DEF7EA46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505047" y="5032837"/>
            <a:ext cx="1911139" cy="320400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70CEF643-CDDE-4396-8BA5-3331E75E3BB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905997" y="4231837"/>
            <a:ext cx="1905668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rgbClr val="DA291C"/>
                </a:solidFill>
                <a:latin typeface="+mj-lt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106EDF3B-A193-4DAB-BFB4-19D111781D5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894454" y="4552237"/>
            <a:ext cx="1911139" cy="32040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5927D876-FC6C-46A8-A907-EFB4CC1AB4D7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892864" y="5032837"/>
            <a:ext cx="1911139" cy="320400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A0FC89CF-891C-4A16-AD77-25DC4569DCBE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5244821" y="2123954"/>
            <a:ext cx="1762796" cy="1762796"/>
          </a:xfrm>
          <a:prstGeom prst="flowChartConnector">
            <a:avLst/>
          </a:prstGeom>
          <a:ln>
            <a:solidFill>
              <a:srgbClr val="DA281C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0E097020-4B61-4F3F-B7DF-2CD06143C919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7602198" y="2123954"/>
            <a:ext cx="1762796" cy="1762796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sp>
        <p:nvSpPr>
          <p:cNvPr id="32" name="Picture Placeholder 5">
            <a:extLst>
              <a:ext uri="{FF2B5EF4-FFF2-40B4-BE49-F238E27FC236}">
                <a16:creationId xmlns:a16="http://schemas.microsoft.com/office/drawing/2014/main" id="{A65608AE-88E1-4C04-883D-8A6887104EBC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967035" y="2123954"/>
            <a:ext cx="1762796" cy="1762796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cxnSp>
        <p:nvCxnSpPr>
          <p:cNvPr id="33" name="Straight Connector 15">
            <a:extLst>
              <a:ext uri="{FF2B5EF4-FFF2-40B4-BE49-F238E27FC236}">
                <a16:creationId xmlns:a16="http://schemas.microsoft.com/office/drawing/2014/main" id="{98FB1C65-9750-4157-AAF8-D72671C5259A}"/>
              </a:ext>
            </a:extLst>
          </p:cNvPr>
          <p:cNvCxnSpPr>
            <a:cxnSpLocks/>
          </p:cNvCxnSpPr>
          <p:nvPr userDrawn="1"/>
        </p:nvCxnSpPr>
        <p:spPr>
          <a:xfrm>
            <a:off x="7287715" y="1925148"/>
            <a:ext cx="0" cy="3014238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15">
            <a:extLst>
              <a:ext uri="{FF2B5EF4-FFF2-40B4-BE49-F238E27FC236}">
                <a16:creationId xmlns:a16="http://schemas.microsoft.com/office/drawing/2014/main" id="{5C8766AE-E86C-44FC-B29F-CEAD833A59F0}"/>
              </a:ext>
            </a:extLst>
          </p:cNvPr>
          <p:cNvCxnSpPr>
            <a:cxnSpLocks/>
          </p:cNvCxnSpPr>
          <p:nvPr userDrawn="1"/>
        </p:nvCxnSpPr>
        <p:spPr>
          <a:xfrm>
            <a:off x="9645093" y="1921881"/>
            <a:ext cx="0" cy="3014238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Marcador de texto 2">
            <a:extLst>
              <a:ext uri="{FF2B5EF4-FFF2-40B4-BE49-F238E27FC236}">
                <a16:creationId xmlns:a16="http://schemas.microsoft.com/office/drawing/2014/main" id="{132744E5-992B-45C3-8D2C-25BADF34710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4034936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AEB10D8-C2A4-468A-8A99-15A2B2FFF868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B13A137-21B4-4440-9996-9EA6C24DE0E4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0D7225D-BA97-4905-BD63-A448539729D9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168E9B-A410-45D5-9ECB-A7B513A98221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376495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colour Transition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3107E2-3D7C-4EA6-A3AE-B45AC3CE49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623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F3107E2-3D7C-4EA6-A3AE-B45AC3CE49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ítulo 1">
            <a:extLst>
              <a:ext uri="{FF2B5EF4-FFF2-40B4-BE49-F238E27FC236}">
                <a16:creationId xmlns:a16="http://schemas.microsoft.com/office/drawing/2014/main" id="{4BFB3231-EC8D-AC43-B9D1-D6556772F6F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524000" y="3189051"/>
            <a:ext cx="9144000" cy="553998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36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s-ES"/>
          </a:p>
        </p:txBody>
      </p:sp>
      <p:sp>
        <p:nvSpPr>
          <p:cNvPr id="6" name="CuadroTexto 64">
            <a:extLst>
              <a:ext uri="{FF2B5EF4-FFF2-40B4-BE49-F238E27FC236}">
                <a16:creationId xmlns:a16="http://schemas.microsoft.com/office/drawing/2014/main" id="{5D5E7AF8-5D93-47BD-AFBA-EB4A85F3DADD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B481660-4229-42B8-B2AE-EA5AFAFC80B0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27CA11D-F2D9-41F7-825D-35C704A8B2C2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E6655F1-117E-4D5A-8F14-FEBFA607B1AF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EBDE2D1-E8CF-40F0-9EF0-3A1FFFF8CC3F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82736579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4 column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EAD1AAE-5F63-4F10-9BB6-9EE29C6A4E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2431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EAD1AAE-5F63-4F10-9BB6-9EE29C6A4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2" descr="Body text will be presented like this">
            <a:extLst>
              <a:ext uri="{FF2B5EF4-FFF2-40B4-BE49-F238E27FC236}">
                <a16:creationId xmlns:a16="http://schemas.microsoft.com/office/drawing/2014/main" id="{222F074C-9474-1441-92BA-E96D35681F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8790" y="1764000"/>
            <a:ext cx="2628000" cy="4032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 descr="Body text will be presented like this">
            <a:extLst>
              <a:ext uri="{FF2B5EF4-FFF2-40B4-BE49-F238E27FC236}">
                <a16:creationId xmlns:a16="http://schemas.microsoft.com/office/drawing/2014/main" id="{E123D2C1-20C7-B24D-B631-0B216E71BB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08260" y="1764000"/>
            <a:ext cx="2628000" cy="4032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 descr="Body text will be presented like this">
            <a:extLst>
              <a:ext uri="{FF2B5EF4-FFF2-40B4-BE49-F238E27FC236}">
                <a16:creationId xmlns:a16="http://schemas.microsoft.com/office/drawing/2014/main" id="{4EBFC386-3520-B542-A356-7958C9441B9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7730" y="1764000"/>
            <a:ext cx="2628000" cy="4032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2" descr="Body text will be presented like this">
            <a:extLst>
              <a:ext uri="{FF2B5EF4-FFF2-40B4-BE49-F238E27FC236}">
                <a16:creationId xmlns:a16="http://schemas.microsoft.com/office/drawing/2014/main" id="{B39FD9AC-9727-2A48-88FA-87D0E68DBD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87200" y="1764000"/>
            <a:ext cx="2628000" cy="4032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52634D77-C330-CF4B-9D59-C72C7B81A9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8790" y="1396800"/>
            <a:ext cx="2628000" cy="239712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10000"/>
              </a:lnSpc>
              <a:buNone/>
              <a:defRPr sz="14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28" name="Marcador de texto 5">
            <a:extLst>
              <a:ext uri="{FF2B5EF4-FFF2-40B4-BE49-F238E27FC236}">
                <a16:creationId xmlns:a16="http://schemas.microsoft.com/office/drawing/2014/main" id="{82C001E4-8932-CF48-81EF-E783FF31A31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308260" y="1396800"/>
            <a:ext cx="2628000" cy="239712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10000"/>
              </a:lnSpc>
              <a:buNone/>
              <a:defRPr sz="14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29" name="Marcador de texto 5">
            <a:extLst>
              <a:ext uri="{FF2B5EF4-FFF2-40B4-BE49-F238E27FC236}">
                <a16:creationId xmlns:a16="http://schemas.microsoft.com/office/drawing/2014/main" id="{54A3C4D8-EE40-CF42-80FC-6BF7CA84F0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47730" y="1396800"/>
            <a:ext cx="2628000" cy="239712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10000"/>
              </a:lnSpc>
              <a:buNone/>
              <a:defRPr sz="14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30" name="Marcador de texto 5">
            <a:extLst>
              <a:ext uri="{FF2B5EF4-FFF2-40B4-BE49-F238E27FC236}">
                <a16:creationId xmlns:a16="http://schemas.microsoft.com/office/drawing/2014/main" id="{E7621128-BB5D-3748-8C7D-1FBF6C59206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87200" y="1396800"/>
            <a:ext cx="2628000" cy="239712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10000"/>
              </a:lnSpc>
              <a:buNone/>
              <a:defRPr sz="14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14" name="Marcador de texto 2">
            <a:extLst>
              <a:ext uri="{FF2B5EF4-FFF2-40B4-BE49-F238E27FC236}">
                <a16:creationId xmlns:a16="http://schemas.microsoft.com/office/drawing/2014/main" id="{D23A926E-5A65-422A-8E34-A1836395D8E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DB2B6F-178E-4507-A9C8-8DEE8605A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71668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or objet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F2F819-31EE-4767-B31E-A161B188D9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0601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F2F819-31EE-4767-B31E-A161B188D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Marcador de texto 2">
            <a:extLst>
              <a:ext uri="{FF2B5EF4-FFF2-40B4-BE49-F238E27FC236}">
                <a16:creationId xmlns:a16="http://schemas.microsoft.com/office/drawing/2014/main" id="{D2007C2E-9B72-4F4A-BD7D-8C2DE3EFE85A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68790" y="1396800"/>
            <a:ext cx="5556946" cy="4752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90000"/>
              </a:lnSpc>
              <a:buClr>
                <a:schemeClr val="accent1"/>
              </a:buClr>
              <a:defRPr sz="1400">
                <a:latin typeface="+mn-lt"/>
              </a:defRPr>
            </a:lvl1pPr>
            <a:lvl2pPr marL="262800" indent="-26280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latin typeface="+mn-lt"/>
              </a:defRPr>
            </a:lvl2pPr>
            <a:lvl3pPr marL="720000" indent="-158400">
              <a:lnSpc>
                <a:spcPct val="120000"/>
              </a:lnSpc>
              <a:buClr>
                <a:schemeClr val="tx1"/>
              </a:buClr>
              <a:buSzPct val="100000"/>
              <a:buFont typeface="Apple Symbols" panose="02000000000000000000" pitchFamily="2" charset="-79"/>
              <a:buChar char="≫"/>
              <a:defRPr sz="1000">
                <a:latin typeface="+mn-lt"/>
              </a:defRPr>
            </a:lvl3pPr>
            <a:lvl4pPr marL="864000" indent="-144000">
              <a:lnSpc>
                <a:spcPct val="120000"/>
              </a:lnSpc>
              <a:buSzPct val="80000"/>
              <a:buFont typeface="Courier New" panose="02070309020205020404" pitchFamily="49" charset="0"/>
              <a:buChar char="o"/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s-ES" err="1"/>
              <a:t>First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6271452A-7728-49FB-A732-1220BCA471F0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C9B6671F-D092-401E-B330-80D231745F5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56800" y="1396800"/>
            <a:ext cx="5558400" cy="4752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90000"/>
              </a:lnSpc>
              <a:buClr>
                <a:schemeClr val="accent1"/>
              </a:buClr>
              <a:defRPr sz="1400">
                <a:latin typeface="+mn-lt"/>
              </a:defRPr>
            </a:lvl1pPr>
            <a:lvl2pPr marL="262800" indent="-26280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latin typeface="+mn-lt"/>
              </a:defRPr>
            </a:lvl2pPr>
            <a:lvl3pPr marL="720000" indent="-158400">
              <a:lnSpc>
                <a:spcPct val="120000"/>
              </a:lnSpc>
              <a:buClr>
                <a:schemeClr val="tx1"/>
              </a:buClr>
              <a:buSzPct val="100000"/>
              <a:buFont typeface="Apple Symbols" panose="02000000000000000000" pitchFamily="2" charset="-79"/>
              <a:buChar char="≫"/>
              <a:defRPr sz="1000">
                <a:latin typeface="+mn-lt"/>
              </a:defRPr>
            </a:lvl3pPr>
            <a:lvl4pPr marL="864000" indent="-144000">
              <a:lnSpc>
                <a:spcPct val="120000"/>
              </a:lnSpc>
              <a:buSzPct val="80000"/>
              <a:buFont typeface="Courier New" panose="02070309020205020404" pitchFamily="49" charset="0"/>
              <a:buChar char="o"/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s-ES" err="1"/>
              <a:t>First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DEC637-4E16-4A65-A111-E6E48B467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541230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8AE4BD-3985-4867-A356-6E8A1D322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328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8AE4BD-3985-4867-A356-6E8A1D322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13D4D86-65A2-674B-8740-25F1F0703B6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8789" y="1396800"/>
            <a:ext cx="11451735" cy="338137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2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  <a:latin typeface="+mj-lt"/>
                <a:cs typeface="Verdana" panose="020B0604030504040204" pitchFamily="34" charset="0"/>
              </a:defRPr>
            </a:lvl1pPr>
            <a:lvl2pPr>
              <a:defRPr>
                <a:latin typeface="+mj-lt"/>
                <a:cs typeface="Arial" panose="020B0604020202020204" pitchFamily="34" charset="0"/>
              </a:defRPr>
            </a:lvl2pPr>
            <a:lvl3pPr marL="547687" indent="-28575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latin typeface="+mj-lt"/>
                <a:cs typeface="Arial" panose="020B0604020202020204" pitchFamily="34" charset="0"/>
              </a:defRPr>
            </a:lvl3pPr>
            <a:lvl4pPr marL="711200" indent="-174625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latin typeface="+mj-lt"/>
                <a:cs typeface="Arial" panose="020B0604020202020204" pitchFamily="34" charset="0"/>
              </a:defRPr>
            </a:lvl4pPr>
            <a:lvl5pPr marL="900113" indent="-188913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54F772DC-9BB0-FD40-BA8F-7563DE243E2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43200" y="1900800"/>
            <a:ext cx="5472000" cy="424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400" b="1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s-ES"/>
              <a:t>Text</a:t>
            </a:r>
            <a:endParaRPr lang="en-GB"/>
          </a:p>
        </p:txBody>
      </p:sp>
      <p:sp>
        <p:nvSpPr>
          <p:cNvPr id="21" name="Marcador de texto 2">
            <a:extLst>
              <a:ext uri="{FF2B5EF4-FFF2-40B4-BE49-F238E27FC236}">
                <a16:creationId xmlns:a16="http://schemas.microsoft.com/office/drawing/2014/main" id="{8AA37285-5DCF-9D48-B155-8D75AB2F2D16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68790" y="1900800"/>
            <a:ext cx="5472000" cy="424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90000"/>
              </a:lnSpc>
              <a:buClr>
                <a:schemeClr val="accent1"/>
              </a:buClr>
              <a:defRPr sz="1400">
                <a:latin typeface="+mn-lt"/>
              </a:defRPr>
            </a:lvl1pPr>
            <a:lvl2pPr marL="262800" indent="-26280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latin typeface="+mn-lt"/>
              </a:defRPr>
            </a:lvl2pPr>
            <a:lvl3pPr marL="720000" indent="-158400">
              <a:lnSpc>
                <a:spcPct val="120000"/>
              </a:lnSpc>
              <a:buClr>
                <a:schemeClr val="tx1"/>
              </a:buClr>
              <a:buSzPct val="100000"/>
              <a:buFont typeface="Apple Symbols" panose="02000000000000000000" pitchFamily="2" charset="-79"/>
              <a:buChar char="≫"/>
              <a:defRPr sz="1000">
                <a:latin typeface="+mn-lt"/>
              </a:defRPr>
            </a:lvl3pPr>
            <a:lvl4pPr marL="864000" indent="-144000">
              <a:lnSpc>
                <a:spcPct val="120000"/>
              </a:lnSpc>
              <a:buSzPct val="80000"/>
              <a:buFont typeface="Courier New" panose="02070309020205020404" pitchFamily="49" charset="0"/>
              <a:buChar char="o"/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s-ES" err="1"/>
              <a:t>First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cxnSp>
        <p:nvCxnSpPr>
          <p:cNvPr id="26" name="Straight Connector 15">
            <a:extLst>
              <a:ext uri="{FF2B5EF4-FFF2-40B4-BE49-F238E27FC236}">
                <a16:creationId xmlns:a16="http://schemas.microsoft.com/office/drawing/2014/main" id="{A2D37FB5-1BAB-A84D-B795-B4972CB53698}"/>
              </a:ext>
            </a:extLst>
          </p:cNvPr>
          <p:cNvCxnSpPr>
            <a:cxnSpLocks/>
          </p:cNvCxnSpPr>
          <p:nvPr userDrawn="1"/>
        </p:nvCxnSpPr>
        <p:spPr>
          <a:xfrm>
            <a:off x="6091995" y="1990800"/>
            <a:ext cx="0" cy="4068000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D5937F15-FEDE-4292-AB3A-84B31FE559C2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6D2C50-5798-4682-B37E-EF925F982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216732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13FA11E-9470-4228-96B0-44982DA205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8873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13FA11E-9470-4228-96B0-44982DA20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F9410D-3796-4909-B40D-B35A3BBC617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059AFB1-C7D6-6743-933B-FA747A91A0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15200" y="1396800"/>
            <a:ext cx="5400000" cy="4752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2B43F0E0-6DB6-43E7-8D4A-015CF8E695A2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8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D8F7B4-B48D-42AF-A1AD-CD5D18B1F8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790" y="1396800"/>
            <a:ext cx="57312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uadroTexto 64">
            <a:extLst>
              <a:ext uri="{FF2B5EF4-FFF2-40B4-BE49-F238E27FC236}">
                <a16:creationId xmlns:a16="http://schemas.microsoft.com/office/drawing/2014/main" id="{34D55F5F-B8A8-4CC8-BD1E-447D4AAC4A20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FABB4E-642F-4400-9ED2-88EFF07D55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222094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AE9E93-F472-47F1-91F6-9772266234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6665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AE9E93-F472-47F1-91F6-977226623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1778B4-7C1F-4CAD-BAA1-687FE82F7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Marcador de contenido 4">
            <a:extLst>
              <a:ext uri="{FF2B5EF4-FFF2-40B4-BE49-F238E27FC236}">
                <a16:creationId xmlns:a16="http://schemas.microsoft.com/office/drawing/2014/main" id="{467CE687-F3D9-B346-A542-5EED792BEFF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415200" y="1396800"/>
            <a:ext cx="5400000" cy="4752000"/>
          </a:xfrm>
          <a:prstGeom prst="rect">
            <a:avLst/>
          </a:prstGeom>
        </p:spPr>
        <p:txBody>
          <a:bodyPr anchor="t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a table, </a:t>
            </a:r>
            <a:br>
              <a:rPr lang="en-US"/>
            </a:br>
            <a:r>
              <a:rPr lang="en-US"/>
              <a:t>chart or image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3BF9BE23-447B-43CC-B3A5-202F7CFB8F5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DC7040-0411-412B-AC50-A22E5F2633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8790" y="1396800"/>
            <a:ext cx="57312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59FD00C-3D55-4286-9382-8E87FAB63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274827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AE9E93-F472-47F1-91F6-9772266234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3542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AE9E93-F472-47F1-91F6-977226623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1778B4-7C1F-4CAD-BAA1-687FE82F7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Marcador de contenido 4">
            <a:extLst>
              <a:ext uri="{FF2B5EF4-FFF2-40B4-BE49-F238E27FC236}">
                <a16:creationId xmlns:a16="http://schemas.microsoft.com/office/drawing/2014/main" id="{467CE687-F3D9-B346-A542-5EED792BEFF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5" y="1396800"/>
            <a:ext cx="5400000" cy="4752000"/>
          </a:xfrm>
          <a:prstGeom prst="rect">
            <a:avLst/>
          </a:prstGeom>
        </p:spPr>
        <p:txBody>
          <a:bodyPr anchor="t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a table, </a:t>
            </a:r>
            <a:br>
              <a:rPr lang="en-US"/>
            </a:br>
            <a:r>
              <a:rPr lang="en-US"/>
              <a:t>chart or image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3BF9BE23-447B-43CC-B3A5-202F7CFB8F5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59FD00C-3D55-4286-9382-8E87FAB63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Marcador de texto 3">
            <a:extLst>
              <a:ext uri="{FF2B5EF4-FFF2-40B4-BE49-F238E27FC236}">
                <a16:creationId xmlns:a16="http://schemas.microsoft.com/office/drawing/2014/main" id="{6843D7AD-9152-47D5-99D0-BBBA0319B9C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630036" y="1401673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6C32404-FCB5-4BAA-83C4-43D88A66A05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632836" y="1723016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Marcador de texto 3">
            <a:extLst>
              <a:ext uri="{FF2B5EF4-FFF2-40B4-BE49-F238E27FC236}">
                <a16:creationId xmlns:a16="http://schemas.microsoft.com/office/drawing/2014/main" id="{4428ED6C-FDDD-49C4-957F-C4BFB8975BE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567796" y="1406529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9B8C1556-02E4-45AD-90E7-792D074953E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570596" y="1727872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Marcador de texto 3">
            <a:extLst>
              <a:ext uri="{FF2B5EF4-FFF2-40B4-BE49-F238E27FC236}">
                <a16:creationId xmlns:a16="http://schemas.microsoft.com/office/drawing/2014/main" id="{ACB180FB-1454-47DD-BB9E-B2DA4A8A3DF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23248" y="3107657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77B9DC8-DC18-449C-B522-DEE36E2B24C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626048" y="3429000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46E1AF4A-780C-4EE6-9928-7BC8D0AC343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561008" y="3112513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72E05E5C-8D35-4D51-B233-065C8E31725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563808" y="3433856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Marcador de texto 3">
            <a:extLst>
              <a:ext uri="{FF2B5EF4-FFF2-40B4-BE49-F238E27FC236}">
                <a16:creationId xmlns:a16="http://schemas.microsoft.com/office/drawing/2014/main" id="{1187544D-6621-47E7-8A6D-A879FECBCAF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623248" y="4822565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FB4F0186-A1CF-411A-8226-0A48C5C3218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626048" y="5143908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Marcador de texto 3">
            <a:extLst>
              <a:ext uri="{FF2B5EF4-FFF2-40B4-BE49-F238E27FC236}">
                <a16:creationId xmlns:a16="http://schemas.microsoft.com/office/drawing/2014/main" id="{F2FE3AC2-2796-480C-A108-6D0C2DEB1228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561008" y="4827421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2355334D-7950-4F8F-AE01-195858149FA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563808" y="5148764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059315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AE9E93-F472-47F1-91F6-9772266234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6427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AE9E93-F472-47F1-91F6-977226623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1778B4-7C1F-4CAD-BAA1-687FE82F7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Marcador de contenido 4">
            <a:extLst>
              <a:ext uri="{FF2B5EF4-FFF2-40B4-BE49-F238E27FC236}">
                <a16:creationId xmlns:a16="http://schemas.microsoft.com/office/drawing/2014/main" id="{467CE687-F3D9-B346-A542-5EED792BEFF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420525" y="1396800"/>
            <a:ext cx="5400000" cy="4752000"/>
          </a:xfrm>
          <a:prstGeom prst="rect">
            <a:avLst/>
          </a:prstGeom>
        </p:spPr>
        <p:txBody>
          <a:bodyPr anchor="t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a table, </a:t>
            </a:r>
            <a:br>
              <a:rPr lang="en-US"/>
            </a:br>
            <a:r>
              <a:rPr lang="en-US"/>
              <a:t>chart or image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3BF9BE23-447B-43CC-B3A5-202F7CFB8F5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59FD00C-3D55-4286-9382-8E87FAB63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Marcador de texto 3">
            <a:extLst>
              <a:ext uri="{FF2B5EF4-FFF2-40B4-BE49-F238E27FC236}">
                <a16:creationId xmlns:a16="http://schemas.microsoft.com/office/drawing/2014/main" id="{6843D7AD-9152-47D5-99D0-BBBA0319B9C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7431" y="3429017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6C32404-FCB5-4BAA-83C4-43D88A66A05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0231" y="3750360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Marcador de texto 3">
            <a:extLst>
              <a:ext uri="{FF2B5EF4-FFF2-40B4-BE49-F238E27FC236}">
                <a16:creationId xmlns:a16="http://schemas.microsoft.com/office/drawing/2014/main" id="{4428ED6C-FDDD-49C4-957F-C4BFB8975BE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835191" y="3433873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9B8C1556-02E4-45AD-90E7-792D074953E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837991" y="3755216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Marcador de texto 3">
            <a:extLst>
              <a:ext uri="{FF2B5EF4-FFF2-40B4-BE49-F238E27FC236}">
                <a16:creationId xmlns:a16="http://schemas.microsoft.com/office/drawing/2014/main" id="{ACB180FB-1454-47DD-BB9E-B2DA4A8A3DF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90643" y="5135001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77B9DC8-DC18-449C-B522-DEE36E2B24C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93443" y="5456344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46E1AF4A-780C-4EE6-9928-7BC8D0AC343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828403" y="5139857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72E05E5C-8D35-4D51-B233-065C8E31725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831203" y="5461200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84F6A59-488C-411A-BAAC-AC4D46ED1CE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68790" y="1396800"/>
            <a:ext cx="5731200" cy="153159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34709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7CFD00-C6DE-4FB2-8022-E7E049C42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3505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7CFD00-C6DE-4FB2-8022-E7E049C42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contenido 4">
            <a:extLst>
              <a:ext uri="{FF2B5EF4-FFF2-40B4-BE49-F238E27FC236}">
                <a16:creationId xmlns:a16="http://schemas.microsoft.com/office/drawing/2014/main" id="{467CE687-F3D9-B346-A542-5EED792BEFF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56800" y="1396800"/>
            <a:ext cx="5558400" cy="47520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a table, </a:t>
            </a:r>
            <a:br>
              <a:rPr lang="en-US"/>
            </a:br>
            <a:r>
              <a:rPr lang="en-US"/>
              <a:t>chart or image</a:t>
            </a:r>
          </a:p>
          <a:p>
            <a:pPr lvl="0"/>
            <a:endParaRPr lang="en-GB"/>
          </a:p>
        </p:txBody>
      </p:sp>
      <p:sp>
        <p:nvSpPr>
          <p:cNvPr id="7" name="Marcador de contenido 4">
            <a:extLst>
              <a:ext uri="{FF2B5EF4-FFF2-40B4-BE49-F238E27FC236}">
                <a16:creationId xmlns:a16="http://schemas.microsoft.com/office/drawing/2014/main" id="{1AB5B00D-6AFD-494C-8631-E0A05EFBFCB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8790" y="1396800"/>
            <a:ext cx="5558400" cy="47520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a table, </a:t>
            </a:r>
            <a:br>
              <a:rPr lang="en-US"/>
            </a:br>
            <a:r>
              <a:rPr lang="en-US"/>
              <a:t>chart or image</a:t>
            </a:r>
          </a:p>
          <a:p>
            <a:pPr lvl="0"/>
            <a:endParaRPr lang="en-GB"/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8F14B39B-9376-43B8-95BE-DEC3B570145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877918-72ED-4A00-8BB3-613507863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906313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6A0B881-68E7-450D-A7FA-D08BB77554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5174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6A0B881-68E7-450D-A7FA-D08BB77554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07DA8050-7B9B-4180-9354-4A54C06115DE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AB019154-AECF-485F-A10E-38AB9C8EEBB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368790" y="1396800"/>
            <a:ext cx="11447463" cy="4752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AC1974-2EAA-466D-B83B-7B41D3611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7294279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horizont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7EC629-02F8-484C-ADC6-4BBCEDAF2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705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7EC629-02F8-484C-ADC6-4BBCEDAF2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059AFB1-C7D6-6743-933B-FA747A91A0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5916706"/>
            <a:ext cx="12192000" cy="941294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07DA8050-7B9B-4180-9354-4A54C06115DE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A1271B-017E-4E03-B74E-17B19333A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2BC54C6-BC47-49BD-BA31-576633C986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790" y="1396800"/>
            <a:ext cx="11446270" cy="424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9BC5B1-6581-47D9-A045-80CBDA8A09BB}"/>
              </a:ext>
            </a:extLst>
          </p:cNvPr>
          <p:cNvSpPr/>
          <p:nvPr userDrawn="1"/>
        </p:nvSpPr>
        <p:spPr>
          <a:xfrm>
            <a:off x="3051745" y="-30489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AE161F-D8E3-4773-8ECC-F30205E6B9D5}"/>
              </a:ext>
            </a:extLst>
          </p:cNvPr>
          <p:cNvSpPr/>
          <p:nvPr userDrawn="1"/>
        </p:nvSpPr>
        <p:spPr>
          <a:xfrm>
            <a:off x="7490" y="-30489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5030CC-10C3-411C-A435-4DFA738366A2}"/>
              </a:ext>
            </a:extLst>
          </p:cNvPr>
          <p:cNvSpPr/>
          <p:nvPr userDrawn="1"/>
        </p:nvSpPr>
        <p:spPr>
          <a:xfrm>
            <a:off x="9149414" y="-30502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B39257-D6EA-4DB4-870E-3C5B218949A1}"/>
              </a:ext>
            </a:extLst>
          </p:cNvPr>
          <p:cNvSpPr/>
          <p:nvPr userDrawn="1"/>
        </p:nvSpPr>
        <p:spPr>
          <a:xfrm>
            <a:off x="6105159" y="-30502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0182313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- 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98AB34B-0EA1-41B1-BF14-0935F045CF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D78C03A2-2EC0-45D4-904B-7A083AB2A0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1592263"/>
            <a:ext cx="6840536" cy="2334072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E4CC69F5-B89D-4B6F-ABCC-61A5439434A3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947739" y="4093103"/>
            <a:ext cx="5148261" cy="171238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AAFD6E9-A2D1-4C55-83E4-A2A09B77FD94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611EAAD-686A-497A-927B-6927AB900EBE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0249A9-B43B-4399-A2DA-C6A9E773B8B9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FA29B30-5C70-451B-9B78-DA3C0ED04082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43812905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+ horizont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">
            <a:extLst>
              <a:ext uri="{FF2B5EF4-FFF2-40B4-BE49-F238E27FC236}">
                <a16:creationId xmlns:a16="http://schemas.microsoft.com/office/drawing/2014/main" id="{29D4E323-0F76-4CE8-A690-A97F4F779EB2}"/>
              </a:ext>
            </a:extLst>
          </p:cNvPr>
          <p:cNvSpPr/>
          <p:nvPr userDrawn="1"/>
        </p:nvSpPr>
        <p:spPr>
          <a:xfrm rot="10500648">
            <a:off x="-628" y="5686881"/>
            <a:ext cx="12299404" cy="1713997"/>
          </a:xfrm>
          <a:custGeom>
            <a:avLst/>
            <a:gdLst>
              <a:gd name="connsiteX0" fmla="*/ 0 w 12316995"/>
              <a:gd name="connsiteY0" fmla="*/ 0 h 2636838"/>
              <a:gd name="connsiteX1" fmla="*/ 12316995 w 12316995"/>
              <a:gd name="connsiteY1" fmla="*/ 0 h 2636838"/>
              <a:gd name="connsiteX2" fmla="*/ 12316995 w 12316995"/>
              <a:gd name="connsiteY2" fmla="*/ 2636838 h 2636838"/>
              <a:gd name="connsiteX3" fmla="*/ 0 w 12316995"/>
              <a:gd name="connsiteY3" fmla="*/ 2636838 h 2636838"/>
              <a:gd name="connsiteX4" fmla="*/ 0 w 12316995"/>
              <a:gd name="connsiteY4" fmla="*/ 0 h 2636838"/>
              <a:gd name="connsiteX0" fmla="*/ 291720 w 12316995"/>
              <a:gd name="connsiteY0" fmla="*/ 0 h 3165979"/>
              <a:gd name="connsiteX1" fmla="*/ 12316995 w 12316995"/>
              <a:gd name="connsiteY1" fmla="*/ 529141 h 3165979"/>
              <a:gd name="connsiteX2" fmla="*/ 12316995 w 12316995"/>
              <a:gd name="connsiteY2" fmla="*/ 3165979 h 3165979"/>
              <a:gd name="connsiteX3" fmla="*/ 0 w 12316995"/>
              <a:gd name="connsiteY3" fmla="*/ 3165979 h 3165979"/>
              <a:gd name="connsiteX4" fmla="*/ 291720 w 12316995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316995 w 12427262"/>
              <a:gd name="connsiteY2" fmla="*/ 3165979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259342 w 12427262"/>
              <a:gd name="connsiteY2" fmla="*/ 3160935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32323"/>
              <a:gd name="connsiteY0" fmla="*/ 0 h 3165979"/>
              <a:gd name="connsiteX1" fmla="*/ 12432323 w 12432323"/>
              <a:gd name="connsiteY1" fmla="*/ 1062082 h 3165979"/>
              <a:gd name="connsiteX2" fmla="*/ 12259342 w 12432323"/>
              <a:gd name="connsiteY2" fmla="*/ 3160935 h 3165979"/>
              <a:gd name="connsiteX3" fmla="*/ 0 w 12432323"/>
              <a:gd name="connsiteY3" fmla="*/ 3165979 h 3165979"/>
              <a:gd name="connsiteX4" fmla="*/ 291720 w 12432323"/>
              <a:gd name="connsiteY4" fmla="*/ 0 h 3165979"/>
              <a:gd name="connsiteX0" fmla="*/ 282042 w 12432323"/>
              <a:gd name="connsiteY0" fmla="*/ 0 h 3171925"/>
              <a:gd name="connsiteX1" fmla="*/ 12432323 w 12432323"/>
              <a:gd name="connsiteY1" fmla="*/ 1068028 h 3171925"/>
              <a:gd name="connsiteX2" fmla="*/ 12259342 w 12432323"/>
              <a:gd name="connsiteY2" fmla="*/ 3166881 h 3171925"/>
              <a:gd name="connsiteX3" fmla="*/ 0 w 12432323"/>
              <a:gd name="connsiteY3" fmla="*/ 3171925 h 3171925"/>
              <a:gd name="connsiteX4" fmla="*/ 282042 w 12432323"/>
              <a:gd name="connsiteY4" fmla="*/ 0 h 3171925"/>
              <a:gd name="connsiteX0" fmla="*/ 190669 w 12432323"/>
              <a:gd name="connsiteY0" fmla="*/ 45201 h 2103897"/>
              <a:gd name="connsiteX1" fmla="*/ 12432323 w 12432323"/>
              <a:gd name="connsiteY1" fmla="*/ 0 h 2103897"/>
              <a:gd name="connsiteX2" fmla="*/ 12259342 w 12432323"/>
              <a:gd name="connsiteY2" fmla="*/ 2098853 h 2103897"/>
              <a:gd name="connsiteX3" fmla="*/ 0 w 12432323"/>
              <a:gd name="connsiteY3" fmla="*/ 2103897 h 2103897"/>
              <a:gd name="connsiteX4" fmla="*/ 190669 w 12432323"/>
              <a:gd name="connsiteY4" fmla="*/ 45201 h 2103897"/>
              <a:gd name="connsiteX0" fmla="*/ 190669 w 12259342"/>
              <a:gd name="connsiteY0" fmla="*/ 0 h 2058696"/>
              <a:gd name="connsiteX1" fmla="*/ 12153987 w 12259342"/>
              <a:gd name="connsiteY1" fmla="*/ 1679115 h 2058696"/>
              <a:gd name="connsiteX2" fmla="*/ 12259342 w 12259342"/>
              <a:gd name="connsiteY2" fmla="*/ 2053652 h 2058696"/>
              <a:gd name="connsiteX3" fmla="*/ 0 w 12259342"/>
              <a:gd name="connsiteY3" fmla="*/ 2058696 h 2058696"/>
              <a:gd name="connsiteX4" fmla="*/ 190669 w 12259342"/>
              <a:gd name="connsiteY4" fmla="*/ 0 h 2058696"/>
              <a:gd name="connsiteX0" fmla="*/ 190669 w 12326628"/>
              <a:gd name="connsiteY0" fmla="*/ 0 h 2058696"/>
              <a:gd name="connsiteX1" fmla="*/ 12326628 w 12326628"/>
              <a:gd name="connsiteY1" fmla="*/ 1165535 h 2058696"/>
              <a:gd name="connsiteX2" fmla="*/ 12259342 w 12326628"/>
              <a:gd name="connsiteY2" fmla="*/ 2053652 h 2058696"/>
              <a:gd name="connsiteX3" fmla="*/ 0 w 12326628"/>
              <a:gd name="connsiteY3" fmla="*/ 2058696 h 2058696"/>
              <a:gd name="connsiteX4" fmla="*/ 190669 w 12326628"/>
              <a:gd name="connsiteY4" fmla="*/ 0 h 2058696"/>
              <a:gd name="connsiteX0" fmla="*/ 243200 w 12326628"/>
              <a:gd name="connsiteY0" fmla="*/ 0 h 1728786"/>
              <a:gd name="connsiteX1" fmla="*/ 12326628 w 12326628"/>
              <a:gd name="connsiteY1" fmla="*/ 835625 h 1728786"/>
              <a:gd name="connsiteX2" fmla="*/ 12259342 w 12326628"/>
              <a:gd name="connsiteY2" fmla="*/ 1723742 h 1728786"/>
              <a:gd name="connsiteX3" fmla="*/ 0 w 12326628"/>
              <a:gd name="connsiteY3" fmla="*/ 1728786 h 1728786"/>
              <a:gd name="connsiteX4" fmla="*/ 243200 w 12326628"/>
              <a:gd name="connsiteY4" fmla="*/ 0 h 1728786"/>
              <a:gd name="connsiteX0" fmla="*/ 176851 w 12326628"/>
              <a:gd name="connsiteY0" fmla="*/ 0 h 1966953"/>
              <a:gd name="connsiteX1" fmla="*/ 12326628 w 12326628"/>
              <a:gd name="connsiteY1" fmla="*/ 1073792 h 1966953"/>
              <a:gd name="connsiteX2" fmla="*/ 12259342 w 12326628"/>
              <a:gd name="connsiteY2" fmla="*/ 1961909 h 1966953"/>
              <a:gd name="connsiteX3" fmla="*/ 0 w 12326628"/>
              <a:gd name="connsiteY3" fmla="*/ 1966953 h 1966953"/>
              <a:gd name="connsiteX4" fmla="*/ 176851 w 12326628"/>
              <a:gd name="connsiteY4" fmla="*/ 0 h 1966953"/>
              <a:gd name="connsiteX0" fmla="*/ 149627 w 12299404"/>
              <a:gd name="connsiteY0" fmla="*/ 0 h 1961909"/>
              <a:gd name="connsiteX1" fmla="*/ 12299404 w 12299404"/>
              <a:gd name="connsiteY1" fmla="*/ 1073792 h 1961909"/>
              <a:gd name="connsiteX2" fmla="*/ 12232118 w 12299404"/>
              <a:gd name="connsiteY2" fmla="*/ 1961909 h 1961909"/>
              <a:gd name="connsiteX3" fmla="*/ 0 w 12299404"/>
              <a:gd name="connsiteY3" fmla="*/ 1522010 h 1961909"/>
              <a:gd name="connsiteX4" fmla="*/ 149627 w 12299404"/>
              <a:gd name="connsiteY4" fmla="*/ 0 h 1961909"/>
              <a:gd name="connsiteX0" fmla="*/ 149627 w 12299404"/>
              <a:gd name="connsiteY0" fmla="*/ 0 h 1713997"/>
              <a:gd name="connsiteX1" fmla="*/ 12299404 w 12299404"/>
              <a:gd name="connsiteY1" fmla="*/ 1073792 h 1713997"/>
              <a:gd name="connsiteX2" fmla="*/ 12253761 w 12299404"/>
              <a:gd name="connsiteY2" fmla="*/ 1713997 h 1713997"/>
              <a:gd name="connsiteX3" fmla="*/ 0 w 12299404"/>
              <a:gd name="connsiteY3" fmla="*/ 1522010 h 1713997"/>
              <a:gd name="connsiteX4" fmla="*/ 149627 w 12299404"/>
              <a:gd name="connsiteY4" fmla="*/ 0 h 171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99404" h="1713997">
                <a:moveTo>
                  <a:pt x="149627" y="0"/>
                </a:moveTo>
                <a:lnTo>
                  <a:pt x="12299404" y="1073792"/>
                </a:lnTo>
                <a:lnTo>
                  <a:pt x="12253761" y="1713997"/>
                </a:lnTo>
                <a:lnTo>
                  <a:pt x="0" y="1522010"/>
                </a:lnTo>
                <a:lnTo>
                  <a:pt x="149627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7EC629-02F8-484C-ADC6-4BBCEDAF2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51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7EC629-02F8-484C-ADC6-4BBCEDAF2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07DA8050-7B9B-4180-9354-4A54C06115DE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A1271B-017E-4E03-B74E-17B19333A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2BC54C6-BC47-49BD-BA31-576633C986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790" y="1396800"/>
            <a:ext cx="11446270" cy="32909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9BC5B1-6581-47D9-A045-80CBDA8A09BB}"/>
              </a:ext>
            </a:extLst>
          </p:cNvPr>
          <p:cNvSpPr/>
          <p:nvPr userDrawn="1"/>
        </p:nvSpPr>
        <p:spPr>
          <a:xfrm>
            <a:off x="3051745" y="-30489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AE161F-D8E3-4773-8ECC-F30205E6B9D5}"/>
              </a:ext>
            </a:extLst>
          </p:cNvPr>
          <p:cNvSpPr/>
          <p:nvPr userDrawn="1"/>
        </p:nvSpPr>
        <p:spPr>
          <a:xfrm>
            <a:off x="7490" y="-30489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5030CC-10C3-411C-A435-4DFA738366A2}"/>
              </a:ext>
            </a:extLst>
          </p:cNvPr>
          <p:cNvSpPr/>
          <p:nvPr userDrawn="1"/>
        </p:nvSpPr>
        <p:spPr>
          <a:xfrm>
            <a:off x="9149414" y="-30502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B39257-D6EA-4DB4-870E-3C5B218949A1}"/>
              </a:ext>
            </a:extLst>
          </p:cNvPr>
          <p:cNvSpPr/>
          <p:nvPr userDrawn="1"/>
        </p:nvSpPr>
        <p:spPr>
          <a:xfrm>
            <a:off x="6105159" y="-30502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Marcador de posición de imagen 2">
            <a:extLst>
              <a:ext uri="{FF2B5EF4-FFF2-40B4-BE49-F238E27FC236}">
                <a16:creationId xmlns:a16="http://schemas.microsoft.com/office/drawing/2014/main" id="{FED831ED-42BC-4485-A531-4D3EBEB11BE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25" y="5357204"/>
            <a:ext cx="12209488" cy="1514242"/>
          </a:xfrm>
          <a:custGeom>
            <a:avLst/>
            <a:gdLst>
              <a:gd name="connsiteX0" fmla="*/ 0 w 12192000"/>
              <a:gd name="connsiteY0" fmla="*/ 0 h 941294"/>
              <a:gd name="connsiteX1" fmla="*/ 12192000 w 12192000"/>
              <a:gd name="connsiteY1" fmla="*/ 0 h 941294"/>
              <a:gd name="connsiteX2" fmla="*/ 12192000 w 12192000"/>
              <a:gd name="connsiteY2" fmla="*/ 941294 h 941294"/>
              <a:gd name="connsiteX3" fmla="*/ 0 w 12192000"/>
              <a:gd name="connsiteY3" fmla="*/ 941294 h 941294"/>
              <a:gd name="connsiteX4" fmla="*/ 0 w 12192000"/>
              <a:gd name="connsiteY4" fmla="*/ 0 h 941294"/>
              <a:gd name="connsiteX0" fmla="*/ 0 w 12209362"/>
              <a:gd name="connsiteY0" fmla="*/ 1024360 h 1965654"/>
              <a:gd name="connsiteX1" fmla="*/ 12209362 w 12209362"/>
              <a:gd name="connsiteY1" fmla="*/ 0 h 1965654"/>
              <a:gd name="connsiteX2" fmla="*/ 12192000 w 12209362"/>
              <a:gd name="connsiteY2" fmla="*/ 1965654 h 1965654"/>
              <a:gd name="connsiteX3" fmla="*/ 0 w 12209362"/>
              <a:gd name="connsiteY3" fmla="*/ 1965654 h 1965654"/>
              <a:gd name="connsiteX4" fmla="*/ 0 w 12209362"/>
              <a:gd name="connsiteY4" fmla="*/ 1024360 h 1965654"/>
              <a:gd name="connsiteX0" fmla="*/ 0 w 12209362"/>
              <a:gd name="connsiteY0" fmla="*/ 1024360 h 1983016"/>
              <a:gd name="connsiteX1" fmla="*/ 12209362 w 12209362"/>
              <a:gd name="connsiteY1" fmla="*/ 0 h 1983016"/>
              <a:gd name="connsiteX2" fmla="*/ 12209362 w 12209362"/>
              <a:gd name="connsiteY2" fmla="*/ 1983016 h 1983016"/>
              <a:gd name="connsiteX3" fmla="*/ 0 w 12209362"/>
              <a:gd name="connsiteY3" fmla="*/ 1965654 h 1983016"/>
              <a:gd name="connsiteX4" fmla="*/ 0 w 12209362"/>
              <a:gd name="connsiteY4" fmla="*/ 1024360 h 1983016"/>
              <a:gd name="connsiteX0" fmla="*/ 0 w 12209362"/>
              <a:gd name="connsiteY0" fmla="*/ 1024360 h 1983016"/>
              <a:gd name="connsiteX1" fmla="*/ 12209362 w 12209362"/>
              <a:gd name="connsiteY1" fmla="*/ 0 h 1983016"/>
              <a:gd name="connsiteX2" fmla="*/ 12203575 w 12209362"/>
              <a:gd name="connsiteY2" fmla="*/ 1983016 h 1983016"/>
              <a:gd name="connsiteX3" fmla="*/ 0 w 12209362"/>
              <a:gd name="connsiteY3" fmla="*/ 1965654 h 1983016"/>
              <a:gd name="connsiteX4" fmla="*/ 0 w 12209362"/>
              <a:gd name="connsiteY4" fmla="*/ 1024360 h 1983016"/>
              <a:gd name="connsiteX0" fmla="*/ 0 w 12215150"/>
              <a:gd name="connsiteY0" fmla="*/ 1088020 h 1983016"/>
              <a:gd name="connsiteX1" fmla="*/ 12215150 w 12215150"/>
              <a:gd name="connsiteY1" fmla="*/ 0 h 1983016"/>
              <a:gd name="connsiteX2" fmla="*/ 12209363 w 12215150"/>
              <a:gd name="connsiteY2" fmla="*/ 1983016 h 1983016"/>
              <a:gd name="connsiteX3" fmla="*/ 5788 w 12215150"/>
              <a:gd name="connsiteY3" fmla="*/ 1965654 h 1983016"/>
              <a:gd name="connsiteX4" fmla="*/ 0 w 12215150"/>
              <a:gd name="connsiteY4" fmla="*/ 1088020 h 1983016"/>
              <a:gd name="connsiteX0" fmla="*/ 0 w 12209363"/>
              <a:gd name="connsiteY0" fmla="*/ 1076446 h 1971442"/>
              <a:gd name="connsiteX1" fmla="*/ 12209363 w 12209363"/>
              <a:gd name="connsiteY1" fmla="*/ 0 h 1971442"/>
              <a:gd name="connsiteX2" fmla="*/ 12209363 w 12209363"/>
              <a:gd name="connsiteY2" fmla="*/ 1971442 h 1971442"/>
              <a:gd name="connsiteX3" fmla="*/ 5788 w 12209363"/>
              <a:gd name="connsiteY3" fmla="*/ 1954080 h 1971442"/>
              <a:gd name="connsiteX4" fmla="*/ 0 w 12209363"/>
              <a:gd name="connsiteY4" fmla="*/ 1076446 h 1971442"/>
              <a:gd name="connsiteX0" fmla="*/ 0 w 12215151"/>
              <a:gd name="connsiteY0" fmla="*/ 619246 h 1514242"/>
              <a:gd name="connsiteX1" fmla="*/ 12215151 w 12215151"/>
              <a:gd name="connsiteY1" fmla="*/ 0 h 1514242"/>
              <a:gd name="connsiteX2" fmla="*/ 12209363 w 12215151"/>
              <a:gd name="connsiteY2" fmla="*/ 1514242 h 1514242"/>
              <a:gd name="connsiteX3" fmla="*/ 5788 w 12215151"/>
              <a:gd name="connsiteY3" fmla="*/ 1496880 h 1514242"/>
              <a:gd name="connsiteX4" fmla="*/ 0 w 12215151"/>
              <a:gd name="connsiteY4" fmla="*/ 619246 h 1514242"/>
              <a:gd name="connsiteX0" fmla="*/ 17486 w 12209488"/>
              <a:gd name="connsiteY0" fmla="*/ 873889 h 1514242"/>
              <a:gd name="connsiteX1" fmla="*/ 12209488 w 12209488"/>
              <a:gd name="connsiteY1" fmla="*/ 0 h 1514242"/>
              <a:gd name="connsiteX2" fmla="*/ 12203700 w 12209488"/>
              <a:gd name="connsiteY2" fmla="*/ 1514242 h 1514242"/>
              <a:gd name="connsiteX3" fmla="*/ 125 w 12209488"/>
              <a:gd name="connsiteY3" fmla="*/ 1496880 h 1514242"/>
              <a:gd name="connsiteX4" fmla="*/ 17486 w 12209488"/>
              <a:gd name="connsiteY4" fmla="*/ 873889 h 1514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9488" h="1514242">
                <a:moveTo>
                  <a:pt x="17486" y="873889"/>
                </a:moveTo>
                <a:lnTo>
                  <a:pt x="12209488" y="0"/>
                </a:lnTo>
                <a:cubicBezTo>
                  <a:pt x="12207559" y="504747"/>
                  <a:pt x="12205629" y="1009495"/>
                  <a:pt x="12203700" y="1514242"/>
                </a:cubicBezTo>
                <a:lnTo>
                  <a:pt x="125" y="1496880"/>
                </a:lnTo>
                <a:cubicBezTo>
                  <a:pt x="-1804" y="1204335"/>
                  <a:pt x="19415" y="1166434"/>
                  <a:pt x="17486" y="873889"/>
                </a:cubicBezTo>
                <a:close/>
              </a:path>
            </a:pathLst>
          </a:cu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8420588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1508AF-6CC8-4D7F-BD77-94F9068BA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7231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71508AF-6CC8-4D7F-BD77-94F9068BA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059AFB1-C7D6-6743-933B-FA747A91A0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0D0F9B9-6CAF-46B3-AD63-CF660E44EB8B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0862F4-D2D4-4BF0-A385-BB7246292A8E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A04021-3D09-4ACE-B394-E39C11DF6AF0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9B06D2-B642-4449-B641-DA223E91679C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" name="Rectángulo 1">
            <a:extLst>
              <a:ext uri="{FF2B5EF4-FFF2-40B4-BE49-F238E27FC236}">
                <a16:creationId xmlns:a16="http://schemas.microsoft.com/office/drawing/2014/main" id="{B13B09CC-E931-4F49-AC14-89B567B70311}"/>
              </a:ext>
            </a:extLst>
          </p:cNvPr>
          <p:cNvSpPr/>
          <p:nvPr userDrawn="1"/>
        </p:nvSpPr>
        <p:spPr>
          <a:xfrm rot="10500648">
            <a:off x="-628" y="5686881"/>
            <a:ext cx="12299404" cy="1713997"/>
          </a:xfrm>
          <a:custGeom>
            <a:avLst/>
            <a:gdLst>
              <a:gd name="connsiteX0" fmla="*/ 0 w 12316995"/>
              <a:gd name="connsiteY0" fmla="*/ 0 h 2636838"/>
              <a:gd name="connsiteX1" fmla="*/ 12316995 w 12316995"/>
              <a:gd name="connsiteY1" fmla="*/ 0 h 2636838"/>
              <a:gd name="connsiteX2" fmla="*/ 12316995 w 12316995"/>
              <a:gd name="connsiteY2" fmla="*/ 2636838 h 2636838"/>
              <a:gd name="connsiteX3" fmla="*/ 0 w 12316995"/>
              <a:gd name="connsiteY3" fmla="*/ 2636838 h 2636838"/>
              <a:gd name="connsiteX4" fmla="*/ 0 w 12316995"/>
              <a:gd name="connsiteY4" fmla="*/ 0 h 2636838"/>
              <a:gd name="connsiteX0" fmla="*/ 291720 w 12316995"/>
              <a:gd name="connsiteY0" fmla="*/ 0 h 3165979"/>
              <a:gd name="connsiteX1" fmla="*/ 12316995 w 12316995"/>
              <a:gd name="connsiteY1" fmla="*/ 529141 h 3165979"/>
              <a:gd name="connsiteX2" fmla="*/ 12316995 w 12316995"/>
              <a:gd name="connsiteY2" fmla="*/ 3165979 h 3165979"/>
              <a:gd name="connsiteX3" fmla="*/ 0 w 12316995"/>
              <a:gd name="connsiteY3" fmla="*/ 3165979 h 3165979"/>
              <a:gd name="connsiteX4" fmla="*/ 291720 w 12316995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316995 w 12427262"/>
              <a:gd name="connsiteY2" fmla="*/ 3165979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259342 w 12427262"/>
              <a:gd name="connsiteY2" fmla="*/ 3160935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32323"/>
              <a:gd name="connsiteY0" fmla="*/ 0 h 3165979"/>
              <a:gd name="connsiteX1" fmla="*/ 12432323 w 12432323"/>
              <a:gd name="connsiteY1" fmla="*/ 1062082 h 3165979"/>
              <a:gd name="connsiteX2" fmla="*/ 12259342 w 12432323"/>
              <a:gd name="connsiteY2" fmla="*/ 3160935 h 3165979"/>
              <a:gd name="connsiteX3" fmla="*/ 0 w 12432323"/>
              <a:gd name="connsiteY3" fmla="*/ 3165979 h 3165979"/>
              <a:gd name="connsiteX4" fmla="*/ 291720 w 12432323"/>
              <a:gd name="connsiteY4" fmla="*/ 0 h 3165979"/>
              <a:gd name="connsiteX0" fmla="*/ 282042 w 12432323"/>
              <a:gd name="connsiteY0" fmla="*/ 0 h 3171925"/>
              <a:gd name="connsiteX1" fmla="*/ 12432323 w 12432323"/>
              <a:gd name="connsiteY1" fmla="*/ 1068028 h 3171925"/>
              <a:gd name="connsiteX2" fmla="*/ 12259342 w 12432323"/>
              <a:gd name="connsiteY2" fmla="*/ 3166881 h 3171925"/>
              <a:gd name="connsiteX3" fmla="*/ 0 w 12432323"/>
              <a:gd name="connsiteY3" fmla="*/ 3171925 h 3171925"/>
              <a:gd name="connsiteX4" fmla="*/ 282042 w 12432323"/>
              <a:gd name="connsiteY4" fmla="*/ 0 h 3171925"/>
              <a:gd name="connsiteX0" fmla="*/ 190669 w 12432323"/>
              <a:gd name="connsiteY0" fmla="*/ 45201 h 2103897"/>
              <a:gd name="connsiteX1" fmla="*/ 12432323 w 12432323"/>
              <a:gd name="connsiteY1" fmla="*/ 0 h 2103897"/>
              <a:gd name="connsiteX2" fmla="*/ 12259342 w 12432323"/>
              <a:gd name="connsiteY2" fmla="*/ 2098853 h 2103897"/>
              <a:gd name="connsiteX3" fmla="*/ 0 w 12432323"/>
              <a:gd name="connsiteY3" fmla="*/ 2103897 h 2103897"/>
              <a:gd name="connsiteX4" fmla="*/ 190669 w 12432323"/>
              <a:gd name="connsiteY4" fmla="*/ 45201 h 2103897"/>
              <a:gd name="connsiteX0" fmla="*/ 190669 w 12259342"/>
              <a:gd name="connsiteY0" fmla="*/ 0 h 2058696"/>
              <a:gd name="connsiteX1" fmla="*/ 12153987 w 12259342"/>
              <a:gd name="connsiteY1" fmla="*/ 1679115 h 2058696"/>
              <a:gd name="connsiteX2" fmla="*/ 12259342 w 12259342"/>
              <a:gd name="connsiteY2" fmla="*/ 2053652 h 2058696"/>
              <a:gd name="connsiteX3" fmla="*/ 0 w 12259342"/>
              <a:gd name="connsiteY3" fmla="*/ 2058696 h 2058696"/>
              <a:gd name="connsiteX4" fmla="*/ 190669 w 12259342"/>
              <a:gd name="connsiteY4" fmla="*/ 0 h 2058696"/>
              <a:gd name="connsiteX0" fmla="*/ 190669 w 12326628"/>
              <a:gd name="connsiteY0" fmla="*/ 0 h 2058696"/>
              <a:gd name="connsiteX1" fmla="*/ 12326628 w 12326628"/>
              <a:gd name="connsiteY1" fmla="*/ 1165535 h 2058696"/>
              <a:gd name="connsiteX2" fmla="*/ 12259342 w 12326628"/>
              <a:gd name="connsiteY2" fmla="*/ 2053652 h 2058696"/>
              <a:gd name="connsiteX3" fmla="*/ 0 w 12326628"/>
              <a:gd name="connsiteY3" fmla="*/ 2058696 h 2058696"/>
              <a:gd name="connsiteX4" fmla="*/ 190669 w 12326628"/>
              <a:gd name="connsiteY4" fmla="*/ 0 h 2058696"/>
              <a:gd name="connsiteX0" fmla="*/ 243200 w 12326628"/>
              <a:gd name="connsiteY0" fmla="*/ 0 h 1728786"/>
              <a:gd name="connsiteX1" fmla="*/ 12326628 w 12326628"/>
              <a:gd name="connsiteY1" fmla="*/ 835625 h 1728786"/>
              <a:gd name="connsiteX2" fmla="*/ 12259342 w 12326628"/>
              <a:gd name="connsiteY2" fmla="*/ 1723742 h 1728786"/>
              <a:gd name="connsiteX3" fmla="*/ 0 w 12326628"/>
              <a:gd name="connsiteY3" fmla="*/ 1728786 h 1728786"/>
              <a:gd name="connsiteX4" fmla="*/ 243200 w 12326628"/>
              <a:gd name="connsiteY4" fmla="*/ 0 h 1728786"/>
              <a:gd name="connsiteX0" fmla="*/ 176851 w 12326628"/>
              <a:gd name="connsiteY0" fmla="*/ 0 h 1966953"/>
              <a:gd name="connsiteX1" fmla="*/ 12326628 w 12326628"/>
              <a:gd name="connsiteY1" fmla="*/ 1073792 h 1966953"/>
              <a:gd name="connsiteX2" fmla="*/ 12259342 w 12326628"/>
              <a:gd name="connsiteY2" fmla="*/ 1961909 h 1966953"/>
              <a:gd name="connsiteX3" fmla="*/ 0 w 12326628"/>
              <a:gd name="connsiteY3" fmla="*/ 1966953 h 1966953"/>
              <a:gd name="connsiteX4" fmla="*/ 176851 w 12326628"/>
              <a:gd name="connsiteY4" fmla="*/ 0 h 1966953"/>
              <a:gd name="connsiteX0" fmla="*/ 149627 w 12299404"/>
              <a:gd name="connsiteY0" fmla="*/ 0 h 1961909"/>
              <a:gd name="connsiteX1" fmla="*/ 12299404 w 12299404"/>
              <a:gd name="connsiteY1" fmla="*/ 1073792 h 1961909"/>
              <a:gd name="connsiteX2" fmla="*/ 12232118 w 12299404"/>
              <a:gd name="connsiteY2" fmla="*/ 1961909 h 1961909"/>
              <a:gd name="connsiteX3" fmla="*/ 0 w 12299404"/>
              <a:gd name="connsiteY3" fmla="*/ 1522010 h 1961909"/>
              <a:gd name="connsiteX4" fmla="*/ 149627 w 12299404"/>
              <a:gd name="connsiteY4" fmla="*/ 0 h 1961909"/>
              <a:gd name="connsiteX0" fmla="*/ 149627 w 12299404"/>
              <a:gd name="connsiteY0" fmla="*/ 0 h 1713997"/>
              <a:gd name="connsiteX1" fmla="*/ 12299404 w 12299404"/>
              <a:gd name="connsiteY1" fmla="*/ 1073792 h 1713997"/>
              <a:gd name="connsiteX2" fmla="*/ 12253761 w 12299404"/>
              <a:gd name="connsiteY2" fmla="*/ 1713997 h 1713997"/>
              <a:gd name="connsiteX3" fmla="*/ 0 w 12299404"/>
              <a:gd name="connsiteY3" fmla="*/ 1522010 h 1713997"/>
              <a:gd name="connsiteX4" fmla="*/ 149627 w 12299404"/>
              <a:gd name="connsiteY4" fmla="*/ 0 h 171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99404" h="1713997">
                <a:moveTo>
                  <a:pt x="149627" y="0"/>
                </a:moveTo>
                <a:lnTo>
                  <a:pt x="12299404" y="1073792"/>
                </a:lnTo>
                <a:lnTo>
                  <a:pt x="12253761" y="1713997"/>
                </a:lnTo>
                <a:lnTo>
                  <a:pt x="0" y="1522010"/>
                </a:lnTo>
                <a:lnTo>
                  <a:pt x="149627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16266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059AFB1-C7D6-6743-933B-FA747A91A0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1508AF-6CC8-4D7F-BD77-94F9068BA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125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71508AF-6CC8-4D7F-BD77-94F9068BA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0D0F9B9-6CAF-46B3-AD63-CF660E44EB8B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0862F4-D2D4-4BF0-A385-BB7246292A8E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A04021-3D09-4ACE-B394-E39C11DF6AF0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9B06D2-B642-4449-B641-DA223E91679C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" name="Rectángulo 1">
            <a:extLst>
              <a:ext uri="{FF2B5EF4-FFF2-40B4-BE49-F238E27FC236}">
                <a16:creationId xmlns:a16="http://schemas.microsoft.com/office/drawing/2014/main" id="{FCDE7C8E-00A7-428B-BAEB-E5D2EE2AC110}"/>
              </a:ext>
            </a:extLst>
          </p:cNvPr>
          <p:cNvSpPr/>
          <p:nvPr userDrawn="1"/>
        </p:nvSpPr>
        <p:spPr>
          <a:xfrm rot="10500648">
            <a:off x="-93990" y="3665899"/>
            <a:ext cx="12457796" cy="3714092"/>
          </a:xfrm>
          <a:custGeom>
            <a:avLst/>
            <a:gdLst>
              <a:gd name="connsiteX0" fmla="*/ 0 w 12316995"/>
              <a:gd name="connsiteY0" fmla="*/ 0 h 2636838"/>
              <a:gd name="connsiteX1" fmla="*/ 12316995 w 12316995"/>
              <a:gd name="connsiteY1" fmla="*/ 0 h 2636838"/>
              <a:gd name="connsiteX2" fmla="*/ 12316995 w 12316995"/>
              <a:gd name="connsiteY2" fmla="*/ 2636838 h 2636838"/>
              <a:gd name="connsiteX3" fmla="*/ 0 w 12316995"/>
              <a:gd name="connsiteY3" fmla="*/ 2636838 h 2636838"/>
              <a:gd name="connsiteX4" fmla="*/ 0 w 12316995"/>
              <a:gd name="connsiteY4" fmla="*/ 0 h 2636838"/>
              <a:gd name="connsiteX0" fmla="*/ 291720 w 12316995"/>
              <a:gd name="connsiteY0" fmla="*/ 0 h 3165979"/>
              <a:gd name="connsiteX1" fmla="*/ 12316995 w 12316995"/>
              <a:gd name="connsiteY1" fmla="*/ 529141 h 3165979"/>
              <a:gd name="connsiteX2" fmla="*/ 12316995 w 12316995"/>
              <a:gd name="connsiteY2" fmla="*/ 3165979 h 3165979"/>
              <a:gd name="connsiteX3" fmla="*/ 0 w 12316995"/>
              <a:gd name="connsiteY3" fmla="*/ 3165979 h 3165979"/>
              <a:gd name="connsiteX4" fmla="*/ 291720 w 12316995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316995 w 12427262"/>
              <a:gd name="connsiteY2" fmla="*/ 3165979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259342 w 12427262"/>
              <a:gd name="connsiteY2" fmla="*/ 3160935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32323"/>
              <a:gd name="connsiteY0" fmla="*/ 0 h 3165979"/>
              <a:gd name="connsiteX1" fmla="*/ 12432323 w 12432323"/>
              <a:gd name="connsiteY1" fmla="*/ 1062082 h 3165979"/>
              <a:gd name="connsiteX2" fmla="*/ 12259342 w 12432323"/>
              <a:gd name="connsiteY2" fmla="*/ 3160935 h 3165979"/>
              <a:gd name="connsiteX3" fmla="*/ 0 w 12432323"/>
              <a:gd name="connsiteY3" fmla="*/ 3165979 h 3165979"/>
              <a:gd name="connsiteX4" fmla="*/ 291720 w 12432323"/>
              <a:gd name="connsiteY4" fmla="*/ 0 h 3165979"/>
              <a:gd name="connsiteX0" fmla="*/ 282042 w 12432323"/>
              <a:gd name="connsiteY0" fmla="*/ 0 h 3171925"/>
              <a:gd name="connsiteX1" fmla="*/ 12432323 w 12432323"/>
              <a:gd name="connsiteY1" fmla="*/ 1068028 h 3171925"/>
              <a:gd name="connsiteX2" fmla="*/ 12259342 w 12432323"/>
              <a:gd name="connsiteY2" fmla="*/ 3166881 h 3171925"/>
              <a:gd name="connsiteX3" fmla="*/ 0 w 12432323"/>
              <a:gd name="connsiteY3" fmla="*/ 3171925 h 3171925"/>
              <a:gd name="connsiteX4" fmla="*/ 282042 w 12432323"/>
              <a:gd name="connsiteY4" fmla="*/ 0 h 3171925"/>
              <a:gd name="connsiteX0" fmla="*/ 190669 w 12432323"/>
              <a:gd name="connsiteY0" fmla="*/ 45201 h 2103897"/>
              <a:gd name="connsiteX1" fmla="*/ 12432323 w 12432323"/>
              <a:gd name="connsiteY1" fmla="*/ 0 h 2103897"/>
              <a:gd name="connsiteX2" fmla="*/ 12259342 w 12432323"/>
              <a:gd name="connsiteY2" fmla="*/ 2098853 h 2103897"/>
              <a:gd name="connsiteX3" fmla="*/ 0 w 12432323"/>
              <a:gd name="connsiteY3" fmla="*/ 2103897 h 2103897"/>
              <a:gd name="connsiteX4" fmla="*/ 190669 w 12432323"/>
              <a:gd name="connsiteY4" fmla="*/ 45201 h 2103897"/>
              <a:gd name="connsiteX0" fmla="*/ 190669 w 12259342"/>
              <a:gd name="connsiteY0" fmla="*/ 0 h 2058696"/>
              <a:gd name="connsiteX1" fmla="*/ 12153987 w 12259342"/>
              <a:gd name="connsiteY1" fmla="*/ 1679115 h 2058696"/>
              <a:gd name="connsiteX2" fmla="*/ 12259342 w 12259342"/>
              <a:gd name="connsiteY2" fmla="*/ 2053652 h 2058696"/>
              <a:gd name="connsiteX3" fmla="*/ 0 w 12259342"/>
              <a:gd name="connsiteY3" fmla="*/ 2058696 h 2058696"/>
              <a:gd name="connsiteX4" fmla="*/ 190669 w 12259342"/>
              <a:gd name="connsiteY4" fmla="*/ 0 h 2058696"/>
              <a:gd name="connsiteX0" fmla="*/ 190669 w 12326628"/>
              <a:gd name="connsiteY0" fmla="*/ 0 h 2058696"/>
              <a:gd name="connsiteX1" fmla="*/ 12326628 w 12326628"/>
              <a:gd name="connsiteY1" fmla="*/ 1165535 h 2058696"/>
              <a:gd name="connsiteX2" fmla="*/ 12259342 w 12326628"/>
              <a:gd name="connsiteY2" fmla="*/ 2053652 h 2058696"/>
              <a:gd name="connsiteX3" fmla="*/ 0 w 12326628"/>
              <a:gd name="connsiteY3" fmla="*/ 2058696 h 2058696"/>
              <a:gd name="connsiteX4" fmla="*/ 190669 w 12326628"/>
              <a:gd name="connsiteY4" fmla="*/ 0 h 2058696"/>
              <a:gd name="connsiteX0" fmla="*/ 243200 w 12326628"/>
              <a:gd name="connsiteY0" fmla="*/ 0 h 1728786"/>
              <a:gd name="connsiteX1" fmla="*/ 12326628 w 12326628"/>
              <a:gd name="connsiteY1" fmla="*/ 835625 h 1728786"/>
              <a:gd name="connsiteX2" fmla="*/ 12259342 w 12326628"/>
              <a:gd name="connsiteY2" fmla="*/ 1723742 h 1728786"/>
              <a:gd name="connsiteX3" fmla="*/ 0 w 12326628"/>
              <a:gd name="connsiteY3" fmla="*/ 1728786 h 1728786"/>
              <a:gd name="connsiteX4" fmla="*/ 243200 w 12326628"/>
              <a:gd name="connsiteY4" fmla="*/ 0 h 1728786"/>
              <a:gd name="connsiteX0" fmla="*/ 176851 w 12326628"/>
              <a:gd name="connsiteY0" fmla="*/ 0 h 1966953"/>
              <a:gd name="connsiteX1" fmla="*/ 12326628 w 12326628"/>
              <a:gd name="connsiteY1" fmla="*/ 1073792 h 1966953"/>
              <a:gd name="connsiteX2" fmla="*/ 12259342 w 12326628"/>
              <a:gd name="connsiteY2" fmla="*/ 1961909 h 1966953"/>
              <a:gd name="connsiteX3" fmla="*/ 0 w 12326628"/>
              <a:gd name="connsiteY3" fmla="*/ 1966953 h 1966953"/>
              <a:gd name="connsiteX4" fmla="*/ 176851 w 12326628"/>
              <a:gd name="connsiteY4" fmla="*/ 0 h 1966953"/>
              <a:gd name="connsiteX0" fmla="*/ 149627 w 12299404"/>
              <a:gd name="connsiteY0" fmla="*/ 0 h 1961909"/>
              <a:gd name="connsiteX1" fmla="*/ 12299404 w 12299404"/>
              <a:gd name="connsiteY1" fmla="*/ 1073792 h 1961909"/>
              <a:gd name="connsiteX2" fmla="*/ 12232118 w 12299404"/>
              <a:gd name="connsiteY2" fmla="*/ 1961909 h 1961909"/>
              <a:gd name="connsiteX3" fmla="*/ 0 w 12299404"/>
              <a:gd name="connsiteY3" fmla="*/ 1522010 h 1961909"/>
              <a:gd name="connsiteX4" fmla="*/ 149627 w 12299404"/>
              <a:gd name="connsiteY4" fmla="*/ 0 h 1961909"/>
              <a:gd name="connsiteX0" fmla="*/ 149627 w 12299404"/>
              <a:gd name="connsiteY0" fmla="*/ 0 h 1713997"/>
              <a:gd name="connsiteX1" fmla="*/ 12299404 w 12299404"/>
              <a:gd name="connsiteY1" fmla="*/ 1073792 h 1713997"/>
              <a:gd name="connsiteX2" fmla="*/ 12253761 w 12299404"/>
              <a:gd name="connsiteY2" fmla="*/ 1713997 h 1713997"/>
              <a:gd name="connsiteX3" fmla="*/ 0 w 12299404"/>
              <a:gd name="connsiteY3" fmla="*/ 1522010 h 1713997"/>
              <a:gd name="connsiteX4" fmla="*/ 149627 w 12299404"/>
              <a:gd name="connsiteY4" fmla="*/ 0 h 1713997"/>
              <a:gd name="connsiteX0" fmla="*/ 149627 w 12482975"/>
              <a:gd name="connsiteY0" fmla="*/ 925914 h 2639911"/>
              <a:gd name="connsiteX1" fmla="*/ 12482975 w 12482975"/>
              <a:gd name="connsiteY1" fmla="*/ 0 h 2639911"/>
              <a:gd name="connsiteX2" fmla="*/ 12253761 w 12482975"/>
              <a:gd name="connsiteY2" fmla="*/ 2639911 h 2639911"/>
              <a:gd name="connsiteX3" fmla="*/ 0 w 12482975"/>
              <a:gd name="connsiteY3" fmla="*/ 2447924 h 2639911"/>
              <a:gd name="connsiteX4" fmla="*/ 149627 w 12482975"/>
              <a:gd name="connsiteY4" fmla="*/ 925914 h 2639911"/>
              <a:gd name="connsiteX0" fmla="*/ 328732 w 12482975"/>
              <a:gd name="connsiteY0" fmla="*/ 0 h 3714092"/>
              <a:gd name="connsiteX1" fmla="*/ 12482975 w 12482975"/>
              <a:gd name="connsiteY1" fmla="*/ 1074181 h 3714092"/>
              <a:gd name="connsiteX2" fmla="*/ 12253761 w 12482975"/>
              <a:gd name="connsiteY2" fmla="*/ 3714092 h 3714092"/>
              <a:gd name="connsiteX3" fmla="*/ 0 w 12482975"/>
              <a:gd name="connsiteY3" fmla="*/ 3522105 h 3714092"/>
              <a:gd name="connsiteX4" fmla="*/ 328732 w 12482975"/>
              <a:gd name="connsiteY4" fmla="*/ 0 h 3714092"/>
              <a:gd name="connsiteX0" fmla="*/ 306405 w 12460648"/>
              <a:gd name="connsiteY0" fmla="*/ 0 h 3714092"/>
              <a:gd name="connsiteX1" fmla="*/ 12460648 w 12460648"/>
              <a:gd name="connsiteY1" fmla="*/ 1074181 h 3714092"/>
              <a:gd name="connsiteX2" fmla="*/ 12231434 w 12460648"/>
              <a:gd name="connsiteY2" fmla="*/ 3714092 h 3714092"/>
              <a:gd name="connsiteX3" fmla="*/ 0 w 12460648"/>
              <a:gd name="connsiteY3" fmla="*/ 3524054 h 3714092"/>
              <a:gd name="connsiteX4" fmla="*/ 306405 w 12460648"/>
              <a:gd name="connsiteY4" fmla="*/ 0 h 3714092"/>
              <a:gd name="connsiteX0" fmla="*/ 306405 w 12457796"/>
              <a:gd name="connsiteY0" fmla="*/ 0 h 3714092"/>
              <a:gd name="connsiteX1" fmla="*/ 12457796 w 12457796"/>
              <a:gd name="connsiteY1" fmla="*/ 1048435 h 3714092"/>
              <a:gd name="connsiteX2" fmla="*/ 12231434 w 12457796"/>
              <a:gd name="connsiteY2" fmla="*/ 3714092 h 3714092"/>
              <a:gd name="connsiteX3" fmla="*/ 0 w 12457796"/>
              <a:gd name="connsiteY3" fmla="*/ 3524054 h 3714092"/>
              <a:gd name="connsiteX4" fmla="*/ 306405 w 12457796"/>
              <a:gd name="connsiteY4" fmla="*/ 0 h 3714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57796" h="3714092">
                <a:moveTo>
                  <a:pt x="306405" y="0"/>
                </a:moveTo>
                <a:lnTo>
                  <a:pt x="12457796" y="1048435"/>
                </a:lnTo>
                <a:lnTo>
                  <a:pt x="12231434" y="3714092"/>
                </a:lnTo>
                <a:lnTo>
                  <a:pt x="0" y="3524054"/>
                </a:lnTo>
                <a:lnTo>
                  <a:pt x="306405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8806FD4-6140-4662-8DE6-047069B86B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4427760"/>
            <a:ext cx="11453324" cy="4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6B22E73-E72E-4893-A4FA-35D88A51B5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0" y="4963932"/>
            <a:ext cx="11451735" cy="118486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680867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059AFB1-C7D6-6743-933B-FA747A91A0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1508AF-6CC8-4D7F-BD77-94F9068BA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3087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71508AF-6CC8-4D7F-BD77-94F9068BA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0D0F9B9-6CAF-46B3-AD63-CF660E44EB8B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0862F4-D2D4-4BF0-A385-BB7246292A8E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A04021-3D09-4ACE-B394-E39C11DF6AF0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9B06D2-B642-4449-B641-DA223E91679C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" name="Rectángulo 1">
            <a:extLst>
              <a:ext uri="{FF2B5EF4-FFF2-40B4-BE49-F238E27FC236}">
                <a16:creationId xmlns:a16="http://schemas.microsoft.com/office/drawing/2014/main" id="{FCDE7C8E-00A7-428B-BAEB-E5D2EE2AC110}"/>
              </a:ext>
            </a:extLst>
          </p:cNvPr>
          <p:cNvSpPr/>
          <p:nvPr userDrawn="1"/>
        </p:nvSpPr>
        <p:spPr>
          <a:xfrm rot="10500648">
            <a:off x="-93990" y="3665899"/>
            <a:ext cx="12457796" cy="3714092"/>
          </a:xfrm>
          <a:custGeom>
            <a:avLst/>
            <a:gdLst>
              <a:gd name="connsiteX0" fmla="*/ 0 w 12316995"/>
              <a:gd name="connsiteY0" fmla="*/ 0 h 2636838"/>
              <a:gd name="connsiteX1" fmla="*/ 12316995 w 12316995"/>
              <a:gd name="connsiteY1" fmla="*/ 0 h 2636838"/>
              <a:gd name="connsiteX2" fmla="*/ 12316995 w 12316995"/>
              <a:gd name="connsiteY2" fmla="*/ 2636838 h 2636838"/>
              <a:gd name="connsiteX3" fmla="*/ 0 w 12316995"/>
              <a:gd name="connsiteY3" fmla="*/ 2636838 h 2636838"/>
              <a:gd name="connsiteX4" fmla="*/ 0 w 12316995"/>
              <a:gd name="connsiteY4" fmla="*/ 0 h 2636838"/>
              <a:gd name="connsiteX0" fmla="*/ 291720 w 12316995"/>
              <a:gd name="connsiteY0" fmla="*/ 0 h 3165979"/>
              <a:gd name="connsiteX1" fmla="*/ 12316995 w 12316995"/>
              <a:gd name="connsiteY1" fmla="*/ 529141 h 3165979"/>
              <a:gd name="connsiteX2" fmla="*/ 12316995 w 12316995"/>
              <a:gd name="connsiteY2" fmla="*/ 3165979 h 3165979"/>
              <a:gd name="connsiteX3" fmla="*/ 0 w 12316995"/>
              <a:gd name="connsiteY3" fmla="*/ 3165979 h 3165979"/>
              <a:gd name="connsiteX4" fmla="*/ 291720 w 12316995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316995 w 12427262"/>
              <a:gd name="connsiteY2" fmla="*/ 3165979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259342 w 12427262"/>
              <a:gd name="connsiteY2" fmla="*/ 3160935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32323"/>
              <a:gd name="connsiteY0" fmla="*/ 0 h 3165979"/>
              <a:gd name="connsiteX1" fmla="*/ 12432323 w 12432323"/>
              <a:gd name="connsiteY1" fmla="*/ 1062082 h 3165979"/>
              <a:gd name="connsiteX2" fmla="*/ 12259342 w 12432323"/>
              <a:gd name="connsiteY2" fmla="*/ 3160935 h 3165979"/>
              <a:gd name="connsiteX3" fmla="*/ 0 w 12432323"/>
              <a:gd name="connsiteY3" fmla="*/ 3165979 h 3165979"/>
              <a:gd name="connsiteX4" fmla="*/ 291720 w 12432323"/>
              <a:gd name="connsiteY4" fmla="*/ 0 h 3165979"/>
              <a:gd name="connsiteX0" fmla="*/ 282042 w 12432323"/>
              <a:gd name="connsiteY0" fmla="*/ 0 h 3171925"/>
              <a:gd name="connsiteX1" fmla="*/ 12432323 w 12432323"/>
              <a:gd name="connsiteY1" fmla="*/ 1068028 h 3171925"/>
              <a:gd name="connsiteX2" fmla="*/ 12259342 w 12432323"/>
              <a:gd name="connsiteY2" fmla="*/ 3166881 h 3171925"/>
              <a:gd name="connsiteX3" fmla="*/ 0 w 12432323"/>
              <a:gd name="connsiteY3" fmla="*/ 3171925 h 3171925"/>
              <a:gd name="connsiteX4" fmla="*/ 282042 w 12432323"/>
              <a:gd name="connsiteY4" fmla="*/ 0 h 3171925"/>
              <a:gd name="connsiteX0" fmla="*/ 190669 w 12432323"/>
              <a:gd name="connsiteY0" fmla="*/ 45201 h 2103897"/>
              <a:gd name="connsiteX1" fmla="*/ 12432323 w 12432323"/>
              <a:gd name="connsiteY1" fmla="*/ 0 h 2103897"/>
              <a:gd name="connsiteX2" fmla="*/ 12259342 w 12432323"/>
              <a:gd name="connsiteY2" fmla="*/ 2098853 h 2103897"/>
              <a:gd name="connsiteX3" fmla="*/ 0 w 12432323"/>
              <a:gd name="connsiteY3" fmla="*/ 2103897 h 2103897"/>
              <a:gd name="connsiteX4" fmla="*/ 190669 w 12432323"/>
              <a:gd name="connsiteY4" fmla="*/ 45201 h 2103897"/>
              <a:gd name="connsiteX0" fmla="*/ 190669 w 12259342"/>
              <a:gd name="connsiteY0" fmla="*/ 0 h 2058696"/>
              <a:gd name="connsiteX1" fmla="*/ 12153987 w 12259342"/>
              <a:gd name="connsiteY1" fmla="*/ 1679115 h 2058696"/>
              <a:gd name="connsiteX2" fmla="*/ 12259342 w 12259342"/>
              <a:gd name="connsiteY2" fmla="*/ 2053652 h 2058696"/>
              <a:gd name="connsiteX3" fmla="*/ 0 w 12259342"/>
              <a:gd name="connsiteY3" fmla="*/ 2058696 h 2058696"/>
              <a:gd name="connsiteX4" fmla="*/ 190669 w 12259342"/>
              <a:gd name="connsiteY4" fmla="*/ 0 h 2058696"/>
              <a:gd name="connsiteX0" fmla="*/ 190669 w 12326628"/>
              <a:gd name="connsiteY0" fmla="*/ 0 h 2058696"/>
              <a:gd name="connsiteX1" fmla="*/ 12326628 w 12326628"/>
              <a:gd name="connsiteY1" fmla="*/ 1165535 h 2058696"/>
              <a:gd name="connsiteX2" fmla="*/ 12259342 w 12326628"/>
              <a:gd name="connsiteY2" fmla="*/ 2053652 h 2058696"/>
              <a:gd name="connsiteX3" fmla="*/ 0 w 12326628"/>
              <a:gd name="connsiteY3" fmla="*/ 2058696 h 2058696"/>
              <a:gd name="connsiteX4" fmla="*/ 190669 w 12326628"/>
              <a:gd name="connsiteY4" fmla="*/ 0 h 2058696"/>
              <a:gd name="connsiteX0" fmla="*/ 243200 w 12326628"/>
              <a:gd name="connsiteY0" fmla="*/ 0 h 1728786"/>
              <a:gd name="connsiteX1" fmla="*/ 12326628 w 12326628"/>
              <a:gd name="connsiteY1" fmla="*/ 835625 h 1728786"/>
              <a:gd name="connsiteX2" fmla="*/ 12259342 w 12326628"/>
              <a:gd name="connsiteY2" fmla="*/ 1723742 h 1728786"/>
              <a:gd name="connsiteX3" fmla="*/ 0 w 12326628"/>
              <a:gd name="connsiteY3" fmla="*/ 1728786 h 1728786"/>
              <a:gd name="connsiteX4" fmla="*/ 243200 w 12326628"/>
              <a:gd name="connsiteY4" fmla="*/ 0 h 1728786"/>
              <a:gd name="connsiteX0" fmla="*/ 176851 w 12326628"/>
              <a:gd name="connsiteY0" fmla="*/ 0 h 1966953"/>
              <a:gd name="connsiteX1" fmla="*/ 12326628 w 12326628"/>
              <a:gd name="connsiteY1" fmla="*/ 1073792 h 1966953"/>
              <a:gd name="connsiteX2" fmla="*/ 12259342 w 12326628"/>
              <a:gd name="connsiteY2" fmla="*/ 1961909 h 1966953"/>
              <a:gd name="connsiteX3" fmla="*/ 0 w 12326628"/>
              <a:gd name="connsiteY3" fmla="*/ 1966953 h 1966953"/>
              <a:gd name="connsiteX4" fmla="*/ 176851 w 12326628"/>
              <a:gd name="connsiteY4" fmla="*/ 0 h 1966953"/>
              <a:gd name="connsiteX0" fmla="*/ 149627 w 12299404"/>
              <a:gd name="connsiteY0" fmla="*/ 0 h 1961909"/>
              <a:gd name="connsiteX1" fmla="*/ 12299404 w 12299404"/>
              <a:gd name="connsiteY1" fmla="*/ 1073792 h 1961909"/>
              <a:gd name="connsiteX2" fmla="*/ 12232118 w 12299404"/>
              <a:gd name="connsiteY2" fmla="*/ 1961909 h 1961909"/>
              <a:gd name="connsiteX3" fmla="*/ 0 w 12299404"/>
              <a:gd name="connsiteY3" fmla="*/ 1522010 h 1961909"/>
              <a:gd name="connsiteX4" fmla="*/ 149627 w 12299404"/>
              <a:gd name="connsiteY4" fmla="*/ 0 h 1961909"/>
              <a:gd name="connsiteX0" fmla="*/ 149627 w 12299404"/>
              <a:gd name="connsiteY0" fmla="*/ 0 h 1713997"/>
              <a:gd name="connsiteX1" fmla="*/ 12299404 w 12299404"/>
              <a:gd name="connsiteY1" fmla="*/ 1073792 h 1713997"/>
              <a:gd name="connsiteX2" fmla="*/ 12253761 w 12299404"/>
              <a:gd name="connsiteY2" fmla="*/ 1713997 h 1713997"/>
              <a:gd name="connsiteX3" fmla="*/ 0 w 12299404"/>
              <a:gd name="connsiteY3" fmla="*/ 1522010 h 1713997"/>
              <a:gd name="connsiteX4" fmla="*/ 149627 w 12299404"/>
              <a:gd name="connsiteY4" fmla="*/ 0 h 1713997"/>
              <a:gd name="connsiteX0" fmla="*/ 149627 w 12482975"/>
              <a:gd name="connsiteY0" fmla="*/ 925914 h 2639911"/>
              <a:gd name="connsiteX1" fmla="*/ 12482975 w 12482975"/>
              <a:gd name="connsiteY1" fmla="*/ 0 h 2639911"/>
              <a:gd name="connsiteX2" fmla="*/ 12253761 w 12482975"/>
              <a:gd name="connsiteY2" fmla="*/ 2639911 h 2639911"/>
              <a:gd name="connsiteX3" fmla="*/ 0 w 12482975"/>
              <a:gd name="connsiteY3" fmla="*/ 2447924 h 2639911"/>
              <a:gd name="connsiteX4" fmla="*/ 149627 w 12482975"/>
              <a:gd name="connsiteY4" fmla="*/ 925914 h 2639911"/>
              <a:gd name="connsiteX0" fmla="*/ 328732 w 12482975"/>
              <a:gd name="connsiteY0" fmla="*/ 0 h 3714092"/>
              <a:gd name="connsiteX1" fmla="*/ 12482975 w 12482975"/>
              <a:gd name="connsiteY1" fmla="*/ 1074181 h 3714092"/>
              <a:gd name="connsiteX2" fmla="*/ 12253761 w 12482975"/>
              <a:gd name="connsiteY2" fmla="*/ 3714092 h 3714092"/>
              <a:gd name="connsiteX3" fmla="*/ 0 w 12482975"/>
              <a:gd name="connsiteY3" fmla="*/ 3522105 h 3714092"/>
              <a:gd name="connsiteX4" fmla="*/ 328732 w 12482975"/>
              <a:gd name="connsiteY4" fmla="*/ 0 h 3714092"/>
              <a:gd name="connsiteX0" fmla="*/ 306405 w 12460648"/>
              <a:gd name="connsiteY0" fmla="*/ 0 h 3714092"/>
              <a:gd name="connsiteX1" fmla="*/ 12460648 w 12460648"/>
              <a:gd name="connsiteY1" fmla="*/ 1074181 h 3714092"/>
              <a:gd name="connsiteX2" fmla="*/ 12231434 w 12460648"/>
              <a:gd name="connsiteY2" fmla="*/ 3714092 h 3714092"/>
              <a:gd name="connsiteX3" fmla="*/ 0 w 12460648"/>
              <a:gd name="connsiteY3" fmla="*/ 3524054 h 3714092"/>
              <a:gd name="connsiteX4" fmla="*/ 306405 w 12460648"/>
              <a:gd name="connsiteY4" fmla="*/ 0 h 3714092"/>
              <a:gd name="connsiteX0" fmla="*/ 306405 w 12457796"/>
              <a:gd name="connsiteY0" fmla="*/ 0 h 3714092"/>
              <a:gd name="connsiteX1" fmla="*/ 12457796 w 12457796"/>
              <a:gd name="connsiteY1" fmla="*/ 1048435 h 3714092"/>
              <a:gd name="connsiteX2" fmla="*/ 12231434 w 12457796"/>
              <a:gd name="connsiteY2" fmla="*/ 3714092 h 3714092"/>
              <a:gd name="connsiteX3" fmla="*/ 0 w 12457796"/>
              <a:gd name="connsiteY3" fmla="*/ 3524054 h 3714092"/>
              <a:gd name="connsiteX4" fmla="*/ 306405 w 12457796"/>
              <a:gd name="connsiteY4" fmla="*/ 0 h 3714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57796" h="3714092">
                <a:moveTo>
                  <a:pt x="306405" y="0"/>
                </a:moveTo>
                <a:lnTo>
                  <a:pt x="12457796" y="1048435"/>
                </a:lnTo>
                <a:lnTo>
                  <a:pt x="12231434" y="3714092"/>
                </a:lnTo>
                <a:lnTo>
                  <a:pt x="0" y="3524054"/>
                </a:lnTo>
                <a:lnTo>
                  <a:pt x="306405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8806FD4-6140-4662-8DE6-047069B86B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4427760"/>
            <a:ext cx="11453324" cy="432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6B22E73-E72E-4893-A4FA-35D88A51B5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0" y="4963932"/>
            <a:ext cx="11451735" cy="1184868"/>
          </a:xfr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851686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relevant figur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71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8435975" y="0"/>
            <a:ext cx="3756025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EBCB333-58BB-B544-BBAA-8ED40584E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2080" y="1396800"/>
            <a:ext cx="2463133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0" name="Marcador de texto 5">
            <a:extLst>
              <a:ext uri="{FF2B5EF4-FFF2-40B4-BE49-F238E27FC236}">
                <a16:creationId xmlns:a16="http://schemas.microsoft.com/office/drawing/2014/main" id="{2C06ACCB-354C-3D41-AB30-002D49D29C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22080" y="3106608"/>
            <a:ext cx="2463133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2" name="Marcador de texto 5">
            <a:extLst>
              <a:ext uri="{FF2B5EF4-FFF2-40B4-BE49-F238E27FC236}">
                <a16:creationId xmlns:a16="http://schemas.microsoft.com/office/drawing/2014/main" id="{55898699-B5C9-1042-AB4E-4107C11BB4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22080" y="4821943"/>
            <a:ext cx="2463133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8D5A004-570A-094C-B900-71EF2C9421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022080" y="2222453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777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1" y="1396800"/>
            <a:ext cx="7419484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777600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FEE3E05-632C-4DDC-A133-15B8F2C0C3F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ADC65A8-BDC8-44D6-801E-0FD122A63B95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771523B-DF2A-41A4-B819-C4FC3788E2AD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57AB59D-D91E-4CC8-B445-EF92BA8BFA59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" name="Marcador de texto 3">
            <a:extLst>
              <a:ext uri="{FF2B5EF4-FFF2-40B4-BE49-F238E27FC236}">
                <a16:creationId xmlns:a16="http://schemas.microsoft.com/office/drawing/2014/main" id="{05702D13-A071-4F50-ABE0-38DA1972E0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2080" y="2432899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EA3DA224-356F-40D5-8E34-0E77F638B03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28485" y="3950669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8" name="Marcador de texto 3">
            <a:extLst>
              <a:ext uri="{FF2B5EF4-FFF2-40B4-BE49-F238E27FC236}">
                <a16:creationId xmlns:a16="http://schemas.microsoft.com/office/drawing/2014/main" id="{2C295525-373B-4608-BC46-0F238113467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28485" y="4161115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9" name="Marcador de texto 3">
            <a:extLst>
              <a:ext uri="{FF2B5EF4-FFF2-40B4-BE49-F238E27FC236}">
                <a16:creationId xmlns:a16="http://schemas.microsoft.com/office/drawing/2014/main" id="{0034B3ED-D51C-4ACC-8EBF-1DB7F1109E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2080" y="5649955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0" name="Marcador de texto 3">
            <a:extLst>
              <a:ext uri="{FF2B5EF4-FFF2-40B4-BE49-F238E27FC236}">
                <a16:creationId xmlns:a16="http://schemas.microsoft.com/office/drawing/2014/main" id="{AE6FCF19-BEA9-4AB0-B7C0-A66022594C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22080" y="5860401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801467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xt + relevant figur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2287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8435975" y="0"/>
            <a:ext cx="3756025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777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1" y="1396800"/>
            <a:ext cx="7776000" cy="2032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777600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CC029E2A-DFFC-4B75-B6F0-0C25FC762DE1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EE3E05-632C-4DDC-A133-15B8F2C0C3F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ADC65A8-BDC8-44D6-801E-0FD122A63B95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771523B-DF2A-41A4-B819-C4FC3788E2AD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57AB59D-D91E-4CC8-B445-EF92BA8BFA59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ECB5D42B-91CA-4DF6-9247-6B6F309CF2A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7738" y="3675188"/>
            <a:ext cx="7191982" cy="391735"/>
          </a:xfrm>
        </p:spPr>
        <p:txBody>
          <a:bodyPr/>
          <a:lstStyle>
            <a:lvl1pPr>
              <a:defRPr sz="1400" b="1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9FD71E6E-C40C-42AF-8E9E-C4057E7B246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1219" y="4066923"/>
            <a:ext cx="7191982" cy="39173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E7510748-ED89-4AD4-8CD8-7AE88E3E15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44257" y="4873597"/>
            <a:ext cx="7191982" cy="391735"/>
          </a:xfrm>
        </p:spPr>
        <p:txBody>
          <a:bodyPr/>
          <a:lstStyle>
            <a:lvl1pPr>
              <a:defRPr sz="1400" b="1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78FA4CBB-F653-4F35-A0FE-63CA52A64E6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7738" y="5265332"/>
            <a:ext cx="7191982" cy="39173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Marcador de texto 5">
            <a:extLst>
              <a:ext uri="{FF2B5EF4-FFF2-40B4-BE49-F238E27FC236}">
                <a16:creationId xmlns:a16="http://schemas.microsoft.com/office/drawing/2014/main" id="{9EB1534E-8424-48C3-BCAC-551420C5EF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2080" y="1396800"/>
            <a:ext cx="2796437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6" name="Marcador de texto 5">
            <a:extLst>
              <a:ext uri="{FF2B5EF4-FFF2-40B4-BE49-F238E27FC236}">
                <a16:creationId xmlns:a16="http://schemas.microsoft.com/office/drawing/2014/main" id="{5F1AB385-62E0-4674-B6B2-33A01B9480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22080" y="3106608"/>
            <a:ext cx="2796437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7" name="Marcador de texto 5">
            <a:extLst>
              <a:ext uri="{FF2B5EF4-FFF2-40B4-BE49-F238E27FC236}">
                <a16:creationId xmlns:a16="http://schemas.microsoft.com/office/drawing/2014/main" id="{74452DD6-3DC8-4D03-8BD6-83360EBE24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22080" y="4821943"/>
            <a:ext cx="2796437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8" name="Marcador de texto 3">
            <a:extLst>
              <a:ext uri="{FF2B5EF4-FFF2-40B4-BE49-F238E27FC236}">
                <a16:creationId xmlns:a16="http://schemas.microsoft.com/office/drawing/2014/main" id="{396E7DEA-FAB4-4CBE-9413-B4A74422A5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022080" y="2222453"/>
            <a:ext cx="279709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9" name="Marcador de texto 3">
            <a:extLst>
              <a:ext uri="{FF2B5EF4-FFF2-40B4-BE49-F238E27FC236}">
                <a16:creationId xmlns:a16="http://schemas.microsoft.com/office/drawing/2014/main" id="{90F182E4-C1F5-4D77-B4DF-314FA4E258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2080" y="2432899"/>
            <a:ext cx="279709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40" name="Marcador de texto 3">
            <a:extLst>
              <a:ext uri="{FF2B5EF4-FFF2-40B4-BE49-F238E27FC236}">
                <a16:creationId xmlns:a16="http://schemas.microsoft.com/office/drawing/2014/main" id="{C4D7E3CF-146E-4368-9282-6FAD90E937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28485" y="3950669"/>
            <a:ext cx="279709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41" name="Marcador de texto 3">
            <a:extLst>
              <a:ext uri="{FF2B5EF4-FFF2-40B4-BE49-F238E27FC236}">
                <a16:creationId xmlns:a16="http://schemas.microsoft.com/office/drawing/2014/main" id="{9610E829-B8CA-4DA7-B46F-E447BA736B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28485" y="4161115"/>
            <a:ext cx="279709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42" name="Marcador de texto 3">
            <a:extLst>
              <a:ext uri="{FF2B5EF4-FFF2-40B4-BE49-F238E27FC236}">
                <a16:creationId xmlns:a16="http://schemas.microsoft.com/office/drawing/2014/main" id="{462A73AB-EA0E-4722-AB67-B222856370C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2080" y="5649955"/>
            <a:ext cx="279709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43" name="Marcador de texto 3">
            <a:extLst>
              <a:ext uri="{FF2B5EF4-FFF2-40B4-BE49-F238E27FC236}">
                <a16:creationId xmlns:a16="http://schemas.microsoft.com/office/drawing/2014/main" id="{A2170E1B-D1D1-4D8E-AAE6-4983D7717D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22080" y="5860401"/>
            <a:ext cx="279709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547530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+ relevant figures+imag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095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8924081" y="0"/>
            <a:ext cx="326791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5339118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1" y="1396800"/>
            <a:ext cx="4034934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5339118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E88ABC6-3508-45D7-B3BD-99157607BE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0" y="0"/>
            <a:ext cx="2828081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641D11C-CBE0-4C96-8F91-252D57DF7C92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8156CB0-9D69-43CE-B7B0-9F4B78620B86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1CF80F-482B-4022-B12D-6F9ADD5A68C5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25CC24E-0835-44F9-ACF1-7E797D9C6D17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1" name="Marcador de texto 5">
            <a:extLst>
              <a:ext uri="{FF2B5EF4-FFF2-40B4-BE49-F238E27FC236}">
                <a16:creationId xmlns:a16="http://schemas.microsoft.com/office/drawing/2014/main" id="{CC13A89A-9C94-48C4-909B-7D8AF821C8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04430" y="1396800"/>
            <a:ext cx="2414087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2" name="Marcador de texto 5">
            <a:extLst>
              <a:ext uri="{FF2B5EF4-FFF2-40B4-BE49-F238E27FC236}">
                <a16:creationId xmlns:a16="http://schemas.microsoft.com/office/drawing/2014/main" id="{02D9886C-AAD0-4166-8556-B335B094E7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04430" y="3106608"/>
            <a:ext cx="2414087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3" name="Marcador de texto 5">
            <a:extLst>
              <a:ext uri="{FF2B5EF4-FFF2-40B4-BE49-F238E27FC236}">
                <a16:creationId xmlns:a16="http://schemas.microsoft.com/office/drawing/2014/main" id="{BBAF1C79-1CDD-45DB-B02E-C29874F2A3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04430" y="4821943"/>
            <a:ext cx="2414087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4" name="Marcador de texto 3">
            <a:extLst>
              <a:ext uri="{FF2B5EF4-FFF2-40B4-BE49-F238E27FC236}">
                <a16:creationId xmlns:a16="http://schemas.microsoft.com/office/drawing/2014/main" id="{DCEA6A05-FE73-4A04-9BFD-EFBEEF3B9C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04520" y="2222453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5" name="Marcador de texto 3">
            <a:extLst>
              <a:ext uri="{FF2B5EF4-FFF2-40B4-BE49-F238E27FC236}">
                <a16:creationId xmlns:a16="http://schemas.microsoft.com/office/drawing/2014/main" id="{33682074-3FEF-416B-BBDE-94E6E2F9C7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04520" y="2432899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6" name="Marcador de texto 3">
            <a:extLst>
              <a:ext uri="{FF2B5EF4-FFF2-40B4-BE49-F238E27FC236}">
                <a16:creationId xmlns:a16="http://schemas.microsoft.com/office/drawing/2014/main" id="{3009B9B7-55E7-4B0C-8255-FC29ABF8AF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0925" y="3950669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7" name="Marcador de texto 3">
            <a:extLst>
              <a:ext uri="{FF2B5EF4-FFF2-40B4-BE49-F238E27FC236}">
                <a16:creationId xmlns:a16="http://schemas.microsoft.com/office/drawing/2014/main" id="{B959AFC2-8996-4919-A682-2747AF44EC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10925" y="4161115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8" name="Marcador de texto 3">
            <a:extLst>
              <a:ext uri="{FF2B5EF4-FFF2-40B4-BE49-F238E27FC236}">
                <a16:creationId xmlns:a16="http://schemas.microsoft.com/office/drawing/2014/main" id="{6B08A81F-C034-400F-9B5F-354604C30A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4520" y="5649955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9" name="Marcador de texto 3">
            <a:extLst>
              <a:ext uri="{FF2B5EF4-FFF2-40B4-BE49-F238E27FC236}">
                <a16:creationId xmlns:a16="http://schemas.microsoft.com/office/drawing/2014/main" id="{09AB3247-9F91-44C8-A332-75F6B280639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04520" y="5860401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53227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xt + relevant figures+imag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8519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6547911" y="-5081"/>
            <a:ext cx="5669541" cy="6872077"/>
          </a:xfrm>
          <a:custGeom>
            <a:avLst/>
            <a:gdLst>
              <a:gd name="connsiteX0" fmla="*/ 0 w 3267919"/>
              <a:gd name="connsiteY0" fmla="*/ 0 h 6858000"/>
              <a:gd name="connsiteX1" fmla="*/ 3267919 w 3267919"/>
              <a:gd name="connsiteY1" fmla="*/ 0 h 6858000"/>
              <a:gd name="connsiteX2" fmla="*/ 3267919 w 3267919"/>
              <a:gd name="connsiteY2" fmla="*/ 6858000 h 6858000"/>
              <a:gd name="connsiteX3" fmla="*/ 0 w 3267919"/>
              <a:gd name="connsiteY3" fmla="*/ 6858000 h 6858000"/>
              <a:gd name="connsiteX4" fmla="*/ 0 w 3267919"/>
              <a:gd name="connsiteY4" fmla="*/ 0 h 6858000"/>
              <a:gd name="connsiteX0" fmla="*/ 2835797 w 6103716"/>
              <a:gd name="connsiteY0" fmla="*/ 0 h 6858000"/>
              <a:gd name="connsiteX1" fmla="*/ 6103716 w 6103716"/>
              <a:gd name="connsiteY1" fmla="*/ 0 h 6858000"/>
              <a:gd name="connsiteX2" fmla="*/ 6103716 w 6103716"/>
              <a:gd name="connsiteY2" fmla="*/ 6858000 h 6858000"/>
              <a:gd name="connsiteX3" fmla="*/ 0 w 6103716"/>
              <a:gd name="connsiteY3" fmla="*/ 6858000 h 6858000"/>
              <a:gd name="connsiteX4" fmla="*/ 2835797 w 6103716"/>
              <a:gd name="connsiteY4" fmla="*/ 0 h 6858000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6103716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7232248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6983416"/>
              <a:gd name="connsiteY0" fmla="*/ 0 h 6863788"/>
              <a:gd name="connsiteX1" fmla="*/ 5148805 w 6983416"/>
              <a:gd name="connsiteY1" fmla="*/ 0 h 6863788"/>
              <a:gd name="connsiteX2" fmla="*/ 6983392 w 6983416"/>
              <a:gd name="connsiteY2" fmla="*/ 6858000 h 6863788"/>
              <a:gd name="connsiteX3" fmla="*/ 0 w 6983416"/>
              <a:gd name="connsiteY3" fmla="*/ 6863788 h 6863788"/>
              <a:gd name="connsiteX4" fmla="*/ 2586941 w 6983416"/>
              <a:gd name="connsiteY4" fmla="*/ 0 h 6863788"/>
              <a:gd name="connsiteX0" fmla="*/ 2586941 w 6983421"/>
              <a:gd name="connsiteY0" fmla="*/ 0 h 6863788"/>
              <a:gd name="connsiteX1" fmla="*/ 5513407 w 6983421"/>
              <a:gd name="connsiteY1" fmla="*/ 0 h 6863788"/>
              <a:gd name="connsiteX2" fmla="*/ 6983392 w 6983421"/>
              <a:gd name="connsiteY2" fmla="*/ 6858000 h 6863788"/>
              <a:gd name="connsiteX3" fmla="*/ 0 w 6983421"/>
              <a:gd name="connsiteY3" fmla="*/ 6863788 h 6863788"/>
              <a:gd name="connsiteX4" fmla="*/ 2586941 w 6983421"/>
              <a:gd name="connsiteY4" fmla="*/ 0 h 6863788"/>
              <a:gd name="connsiteX0" fmla="*/ 2586941 w 5513407"/>
              <a:gd name="connsiteY0" fmla="*/ 0 h 6869575"/>
              <a:gd name="connsiteX1" fmla="*/ 5513407 w 5513407"/>
              <a:gd name="connsiteY1" fmla="*/ 0 h 6869575"/>
              <a:gd name="connsiteX2" fmla="*/ 5183529 w 5513407"/>
              <a:gd name="connsiteY2" fmla="*/ 6869575 h 6869575"/>
              <a:gd name="connsiteX3" fmla="*/ 0 w 5513407"/>
              <a:gd name="connsiteY3" fmla="*/ 6863788 h 6869575"/>
              <a:gd name="connsiteX4" fmla="*/ 2586941 w 5513407"/>
              <a:gd name="connsiteY4" fmla="*/ 0 h 6869575"/>
              <a:gd name="connsiteX0" fmla="*/ 2586941 w 5513407"/>
              <a:gd name="connsiteY0" fmla="*/ 0 h 6863788"/>
              <a:gd name="connsiteX1" fmla="*/ 5513407 w 5513407"/>
              <a:gd name="connsiteY1" fmla="*/ 0 h 6863788"/>
              <a:gd name="connsiteX2" fmla="*/ 5496045 w 5513407"/>
              <a:gd name="connsiteY2" fmla="*/ 6829064 h 6863788"/>
              <a:gd name="connsiteX3" fmla="*/ 0 w 5513407"/>
              <a:gd name="connsiteY3" fmla="*/ 6863788 h 6863788"/>
              <a:gd name="connsiteX4" fmla="*/ 2586941 w 5513407"/>
              <a:gd name="connsiteY4" fmla="*/ 0 h 6863788"/>
              <a:gd name="connsiteX0" fmla="*/ 2586941 w 5520913"/>
              <a:gd name="connsiteY0" fmla="*/ 0 h 6863788"/>
              <a:gd name="connsiteX1" fmla="*/ 5513407 w 5520913"/>
              <a:gd name="connsiteY1" fmla="*/ 0 h 6863788"/>
              <a:gd name="connsiteX2" fmla="*/ 5519195 w 5520913"/>
              <a:gd name="connsiteY2" fmla="*/ 6840638 h 6863788"/>
              <a:gd name="connsiteX3" fmla="*/ 0 w 5520913"/>
              <a:gd name="connsiteY3" fmla="*/ 6863788 h 6863788"/>
              <a:gd name="connsiteX4" fmla="*/ 2586941 w 5520913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52723 w 5509031"/>
              <a:gd name="connsiteY0" fmla="*/ 0 h 6852213"/>
              <a:gd name="connsiteX1" fmla="*/ 5479189 w 5509031"/>
              <a:gd name="connsiteY1" fmla="*/ 0 h 6852213"/>
              <a:gd name="connsiteX2" fmla="*/ 5508126 w 5509031"/>
              <a:gd name="connsiteY2" fmla="*/ 6852213 h 6852213"/>
              <a:gd name="connsiteX3" fmla="*/ 0 w 5509031"/>
              <a:gd name="connsiteY3" fmla="*/ 6789649 h 6852213"/>
              <a:gd name="connsiteX4" fmla="*/ 2552723 w 5509031"/>
              <a:gd name="connsiteY4" fmla="*/ 0 h 6852213"/>
              <a:gd name="connsiteX0" fmla="*/ 2552723 w 5494413"/>
              <a:gd name="connsiteY0" fmla="*/ 0 h 6789649"/>
              <a:gd name="connsiteX1" fmla="*/ 5479189 w 5494413"/>
              <a:gd name="connsiteY1" fmla="*/ 0 h 6789649"/>
              <a:gd name="connsiteX2" fmla="*/ 5493109 w 5494413"/>
              <a:gd name="connsiteY2" fmla="*/ 6606924 h 6789649"/>
              <a:gd name="connsiteX3" fmla="*/ 0 w 5494413"/>
              <a:gd name="connsiteY3" fmla="*/ 6789649 h 6789649"/>
              <a:gd name="connsiteX4" fmla="*/ 2552723 w 5494413"/>
              <a:gd name="connsiteY4" fmla="*/ 0 h 6789649"/>
              <a:gd name="connsiteX0" fmla="*/ 2552723 w 5479189"/>
              <a:gd name="connsiteY0" fmla="*/ 0 h 6789649"/>
              <a:gd name="connsiteX1" fmla="*/ 5479189 w 5479189"/>
              <a:gd name="connsiteY1" fmla="*/ 0 h 6789649"/>
              <a:gd name="connsiteX2" fmla="*/ 5433038 w 5479189"/>
              <a:gd name="connsiteY2" fmla="*/ 6757102 h 6789649"/>
              <a:gd name="connsiteX3" fmla="*/ 0 w 5479189"/>
              <a:gd name="connsiteY3" fmla="*/ 6789649 h 6789649"/>
              <a:gd name="connsiteX4" fmla="*/ 2552723 w 5479189"/>
              <a:gd name="connsiteY4" fmla="*/ 0 h 6789649"/>
              <a:gd name="connsiteX0" fmla="*/ 2552723 w 6003412"/>
              <a:gd name="connsiteY0" fmla="*/ 0 h 6789649"/>
              <a:gd name="connsiteX1" fmla="*/ 5479189 w 6003412"/>
              <a:gd name="connsiteY1" fmla="*/ 0 h 6789649"/>
              <a:gd name="connsiteX2" fmla="*/ 6003331 w 6003412"/>
              <a:gd name="connsiteY2" fmla="*/ 6762805 h 6789649"/>
              <a:gd name="connsiteX3" fmla="*/ 0 w 6003412"/>
              <a:gd name="connsiteY3" fmla="*/ 6789649 h 6789649"/>
              <a:gd name="connsiteX4" fmla="*/ 2552723 w 6003412"/>
              <a:gd name="connsiteY4" fmla="*/ 0 h 6789649"/>
              <a:gd name="connsiteX0" fmla="*/ 2564128 w 6014817"/>
              <a:gd name="connsiteY0" fmla="*/ 0 h 6766838"/>
              <a:gd name="connsiteX1" fmla="*/ 5490594 w 6014817"/>
              <a:gd name="connsiteY1" fmla="*/ 0 h 6766838"/>
              <a:gd name="connsiteX2" fmla="*/ 6014736 w 6014817"/>
              <a:gd name="connsiteY2" fmla="*/ 6762805 h 6766838"/>
              <a:gd name="connsiteX3" fmla="*/ 0 w 6014817"/>
              <a:gd name="connsiteY3" fmla="*/ 6766838 h 6766838"/>
              <a:gd name="connsiteX4" fmla="*/ 2564128 w 6014817"/>
              <a:gd name="connsiteY4" fmla="*/ 0 h 6766838"/>
              <a:gd name="connsiteX0" fmla="*/ 2564128 w 6020966"/>
              <a:gd name="connsiteY0" fmla="*/ 0 h 6766838"/>
              <a:gd name="connsiteX1" fmla="*/ 6020966 w 6020966"/>
              <a:gd name="connsiteY1" fmla="*/ 0 h 6766838"/>
              <a:gd name="connsiteX2" fmla="*/ 6014736 w 6020966"/>
              <a:gd name="connsiteY2" fmla="*/ 6762805 h 6766838"/>
              <a:gd name="connsiteX3" fmla="*/ 0 w 6020966"/>
              <a:gd name="connsiteY3" fmla="*/ 6766838 h 6766838"/>
              <a:gd name="connsiteX4" fmla="*/ 2564128 w 6020966"/>
              <a:gd name="connsiteY4" fmla="*/ 0 h 6766838"/>
              <a:gd name="connsiteX0" fmla="*/ 2564128 w 6022729"/>
              <a:gd name="connsiteY0" fmla="*/ 0 h 6766838"/>
              <a:gd name="connsiteX1" fmla="*/ 6020966 w 6022729"/>
              <a:gd name="connsiteY1" fmla="*/ 0 h 6766838"/>
              <a:gd name="connsiteX2" fmla="*/ 6020440 w 6022729"/>
              <a:gd name="connsiteY2" fmla="*/ 6757103 h 6766838"/>
              <a:gd name="connsiteX3" fmla="*/ 0 w 6022729"/>
              <a:gd name="connsiteY3" fmla="*/ 6766838 h 6766838"/>
              <a:gd name="connsiteX4" fmla="*/ 2564128 w 6022729"/>
              <a:gd name="connsiteY4" fmla="*/ 0 h 6766838"/>
              <a:gd name="connsiteX0" fmla="*/ 2564128 w 6020537"/>
              <a:gd name="connsiteY0" fmla="*/ 0 h 6766838"/>
              <a:gd name="connsiteX1" fmla="*/ 5581840 w 6020537"/>
              <a:gd name="connsiteY1" fmla="*/ 0 h 6766838"/>
              <a:gd name="connsiteX2" fmla="*/ 6020440 w 6020537"/>
              <a:gd name="connsiteY2" fmla="*/ 6757103 h 6766838"/>
              <a:gd name="connsiteX3" fmla="*/ 0 w 6020537"/>
              <a:gd name="connsiteY3" fmla="*/ 6766838 h 6766838"/>
              <a:gd name="connsiteX4" fmla="*/ 2564128 w 6020537"/>
              <a:gd name="connsiteY4" fmla="*/ 0 h 6766838"/>
              <a:gd name="connsiteX0" fmla="*/ 2564128 w 5581840"/>
              <a:gd name="connsiteY0" fmla="*/ 0 h 6768508"/>
              <a:gd name="connsiteX1" fmla="*/ 5581840 w 5581840"/>
              <a:gd name="connsiteY1" fmla="*/ 0 h 6768508"/>
              <a:gd name="connsiteX2" fmla="*/ 5147893 w 5581840"/>
              <a:gd name="connsiteY2" fmla="*/ 6768508 h 6768508"/>
              <a:gd name="connsiteX3" fmla="*/ 0 w 5581840"/>
              <a:gd name="connsiteY3" fmla="*/ 6766838 h 6768508"/>
              <a:gd name="connsiteX4" fmla="*/ 2564128 w 5581840"/>
              <a:gd name="connsiteY4" fmla="*/ 0 h 6768508"/>
              <a:gd name="connsiteX0" fmla="*/ 2564128 w 5581840"/>
              <a:gd name="connsiteY0" fmla="*/ 0 h 6766838"/>
              <a:gd name="connsiteX1" fmla="*/ 5581840 w 5581840"/>
              <a:gd name="connsiteY1" fmla="*/ 0 h 6766838"/>
              <a:gd name="connsiteX2" fmla="*/ 5569910 w 5581840"/>
              <a:gd name="connsiteY2" fmla="*/ 6757103 h 6766838"/>
              <a:gd name="connsiteX3" fmla="*/ 0 w 5581840"/>
              <a:gd name="connsiteY3" fmla="*/ 6766838 h 6766838"/>
              <a:gd name="connsiteX4" fmla="*/ 2564128 w 5581840"/>
              <a:gd name="connsiteY4" fmla="*/ 0 h 6766838"/>
              <a:gd name="connsiteX0" fmla="*/ 2564128 w 5586846"/>
              <a:gd name="connsiteY0" fmla="*/ 5006 h 6771844"/>
              <a:gd name="connsiteX1" fmla="*/ 5586846 w 5586846"/>
              <a:gd name="connsiteY1" fmla="*/ 0 h 6771844"/>
              <a:gd name="connsiteX2" fmla="*/ 5569910 w 5586846"/>
              <a:gd name="connsiteY2" fmla="*/ 6762109 h 6771844"/>
              <a:gd name="connsiteX3" fmla="*/ 0 w 5586846"/>
              <a:gd name="connsiteY3" fmla="*/ 6771844 h 6771844"/>
              <a:gd name="connsiteX4" fmla="*/ 2564128 w 5586846"/>
              <a:gd name="connsiteY4" fmla="*/ 5006 h 6771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86846" h="6771844">
                <a:moveTo>
                  <a:pt x="2564128" y="5006"/>
                </a:moveTo>
                <a:lnTo>
                  <a:pt x="5586846" y="0"/>
                </a:lnTo>
                <a:cubicBezTo>
                  <a:pt x="5579130" y="2287929"/>
                  <a:pt x="5577626" y="4474180"/>
                  <a:pt x="5569910" y="6762109"/>
                </a:cubicBezTo>
                <a:lnTo>
                  <a:pt x="0" y="6771844"/>
                </a:lnTo>
                <a:lnTo>
                  <a:pt x="2564128" y="5006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5339118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1" y="1396800"/>
            <a:ext cx="5736368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5339118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B757EFA4-9CA7-4971-930F-9A211DFD8C84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5E15839-E41E-4EDF-8BBC-E860E59953A6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C5E13AA-8E9B-4754-89F8-7BB4FEA969D7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2A25B90-3501-4354-8001-D9BB6C0DD482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3" name="Marcador de texto 5">
            <a:extLst>
              <a:ext uri="{FF2B5EF4-FFF2-40B4-BE49-F238E27FC236}">
                <a16:creationId xmlns:a16="http://schemas.microsoft.com/office/drawing/2014/main" id="{734CF444-F455-41CC-A4F0-0119B7CCF2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04430" y="1396800"/>
            <a:ext cx="2414087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4" name="Marcador de texto 5">
            <a:extLst>
              <a:ext uri="{FF2B5EF4-FFF2-40B4-BE49-F238E27FC236}">
                <a16:creationId xmlns:a16="http://schemas.microsoft.com/office/drawing/2014/main" id="{F9743225-97B5-4C1C-ABED-2A4A6D0271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04430" y="3106608"/>
            <a:ext cx="2414087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5" name="Marcador de texto 5">
            <a:extLst>
              <a:ext uri="{FF2B5EF4-FFF2-40B4-BE49-F238E27FC236}">
                <a16:creationId xmlns:a16="http://schemas.microsoft.com/office/drawing/2014/main" id="{DC8F35E4-28B6-4F72-9C7F-98AF5BE601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04430" y="4821943"/>
            <a:ext cx="2414087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6" name="Marcador de texto 3">
            <a:extLst>
              <a:ext uri="{FF2B5EF4-FFF2-40B4-BE49-F238E27FC236}">
                <a16:creationId xmlns:a16="http://schemas.microsoft.com/office/drawing/2014/main" id="{CF3B3251-335E-446C-B6FC-00CA9E17D9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04520" y="2222453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7" name="Marcador de texto 3">
            <a:extLst>
              <a:ext uri="{FF2B5EF4-FFF2-40B4-BE49-F238E27FC236}">
                <a16:creationId xmlns:a16="http://schemas.microsoft.com/office/drawing/2014/main" id="{C98A5DB2-9900-475B-8AFD-F29E0FB3D0D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04520" y="2432899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8" name="Marcador de texto 3">
            <a:extLst>
              <a:ext uri="{FF2B5EF4-FFF2-40B4-BE49-F238E27FC236}">
                <a16:creationId xmlns:a16="http://schemas.microsoft.com/office/drawing/2014/main" id="{D3EA224C-0C6A-4296-A78D-2E8782968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0925" y="3950669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9" name="Marcador de texto 3">
            <a:extLst>
              <a:ext uri="{FF2B5EF4-FFF2-40B4-BE49-F238E27FC236}">
                <a16:creationId xmlns:a16="http://schemas.microsoft.com/office/drawing/2014/main" id="{0AFD99CE-1675-4229-93E5-311A23A458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10925" y="4161115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40" name="Marcador de texto 3">
            <a:extLst>
              <a:ext uri="{FF2B5EF4-FFF2-40B4-BE49-F238E27FC236}">
                <a16:creationId xmlns:a16="http://schemas.microsoft.com/office/drawing/2014/main" id="{3E8CC5A2-CF31-4CDC-A337-EB78D067E06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4520" y="5649955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41" name="Marcador de texto 3">
            <a:extLst>
              <a:ext uri="{FF2B5EF4-FFF2-40B4-BE49-F238E27FC236}">
                <a16:creationId xmlns:a16="http://schemas.microsoft.com/office/drawing/2014/main" id="{D13919C7-BD45-4225-A535-74C704EA767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04520" y="5860401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248674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ext + relevant figures+imag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2377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5339118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0" y="1396800"/>
            <a:ext cx="5727209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5339118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7" name="Marcador de posición de imagen 2">
            <a:extLst>
              <a:ext uri="{FF2B5EF4-FFF2-40B4-BE49-F238E27FC236}">
                <a16:creationId xmlns:a16="http://schemas.microsoft.com/office/drawing/2014/main" id="{818A30A8-0AD4-4579-B422-E8F2A10F4A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538529" y="-14050"/>
            <a:ext cx="5670915" cy="6877222"/>
          </a:xfrm>
          <a:custGeom>
            <a:avLst/>
            <a:gdLst>
              <a:gd name="connsiteX0" fmla="*/ 0 w 4592124"/>
              <a:gd name="connsiteY0" fmla="*/ 0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0 w 4592124"/>
              <a:gd name="connsiteY4" fmla="*/ 0 h 6858000"/>
              <a:gd name="connsiteX0" fmla="*/ 2549525 w 4592124"/>
              <a:gd name="connsiteY0" fmla="*/ 1058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2549525 w 4592124"/>
              <a:gd name="connsiteY4" fmla="*/ 1058 h 6858000"/>
              <a:gd name="connsiteX0" fmla="*/ 2549525 w 4592124"/>
              <a:gd name="connsiteY0" fmla="*/ 0 h 6856942"/>
              <a:gd name="connsiteX1" fmla="*/ 4592124 w 4592124"/>
              <a:gd name="connsiteY1" fmla="*/ 1371762 h 6856942"/>
              <a:gd name="connsiteX2" fmla="*/ 4592124 w 4592124"/>
              <a:gd name="connsiteY2" fmla="*/ 6856942 h 6856942"/>
              <a:gd name="connsiteX3" fmla="*/ 0 w 4592124"/>
              <a:gd name="connsiteY3" fmla="*/ 6856942 h 6856942"/>
              <a:gd name="connsiteX4" fmla="*/ 2549525 w 4592124"/>
              <a:gd name="connsiteY4" fmla="*/ 0 h 6856942"/>
              <a:gd name="connsiteX0" fmla="*/ 2045812 w 4592124"/>
              <a:gd name="connsiteY0" fmla="*/ 1058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45812 w 4592124"/>
              <a:gd name="connsiteY4" fmla="*/ 1058 h 5485180"/>
              <a:gd name="connsiteX0" fmla="*/ 2028628 w 4592124"/>
              <a:gd name="connsiteY0" fmla="*/ 36027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28628 w 4592124"/>
              <a:gd name="connsiteY4" fmla="*/ 36027 h 5485180"/>
              <a:gd name="connsiteX0" fmla="*/ 2028628 w 4592124"/>
              <a:gd name="connsiteY0" fmla="*/ 4509 h 5453662"/>
              <a:gd name="connsiteX1" fmla="*/ 4568296 w 4592124"/>
              <a:gd name="connsiteY1" fmla="*/ 0 h 5453662"/>
              <a:gd name="connsiteX2" fmla="*/ 4592124 w 4592124"/>
              <a:gd name="connsiteY2" fmla="*/ 5453662 h 5453662"/>
              <a:gd name="connsiteX3" fmla="*/ 0 w 4592124"/>
              <a:gd name="connsiteY3" fmla="*/ 5453662 h 5453662"/>
              <a:gd name="connsiteX4" fmla="*/ 2028628 w 4592124"/>
              <a:gd name="connsiteY4" fmla="*/ 4509 h 5453662"/>
              <a:gd name="connsiteX0" fmla="*/ 2028628 w 4743341"/>
              <a:gd name="connsiteY0" fmla="*/ 4509 h 5460656"/>
              <a:gd name="connsiteX1" fmla="*/ 4568296 w 4743341"/>
              <a:gd name="connsiteY1" fmla="*/ 0 h 5460656"/>
              <a:gd name="connsiteX2" fmla="*/ 4743341 w 4743341"/>
              <a:gd name="connsiteY2" fmla="*/ 5460656 h 5460656"/>
              <a:gd name="connsiteX3" fmla="*/ 0 w 4743341"/>
              <a:gd name="connsiteY3" fmla="*/ 5453662 h 5460656"/>
              <a:gd name="connsiteX4" fmla="*/ 2028628 w 4743341"/>
              <a:gd name="connsiteY4" fmla="*/ 4509 h 5460656"/>
              <a:gd name="connsiteX0" fmla="*/ 2028628 w 4760755"/>
              <a:gd name="connsiteY0" fmla="*/ 4509 h 5460656"/>
              <a:gd name="connsiteX1" fmla="*/ 4760755 w 4760755"/>
              <a:gd name="connsiteY1" fmla="*/ 0 h 5460656"/>
              <a:gd name="connsiteX2" fmla="*/ 4743341 w 4760755"/>
              <a:gd name="connsiteY2" fmla="*/ 5460656 h 5460656"/>
              <a:gd name="connsiteX3" fmla="*/ 0 w 4760755"/>
              <a:gd name="connsiteY3" fmla="*/ 5453662 h 5460656"/>
              <a:gd name="connsiteX4" fmla="*/ 2028628 w 4760755"/>
              <a:gd name="connsiteY4" fmla="*/ 4509 h 5460656"/>
              <a:gd name="connsiteX0" fmla="*/ 2042201 w 4774328"/>
              <a:gd name="connsiteY0" fmla="*/ 4509 h 5467473"/>
              <a:gd name="connsiteX1" fmla="*/ 4774328 w 4774328"/>
              <a:gd name="connsiteY1" fmla="*/ 0 h 5467473"/>
              <a:gd name="connsiteX2" fmla="*/ 4756914 w 4774328"/>
              <a:gd name="connsiteY2" fmla="*/ 5460656 h 5467473"/>
              <a:gd name="connsiteX3" fmla="*/ 0 w 4774328"/>
              <a:gd name="connsiteY3" fmla="*/ 5467473 h 5467473"/>
              <a:gd name="connsiteX4" fmla="*/ 2042201 w 4774328"/>
              <a:gd name="connsiteY4" fmla="*/ 4509 h 5467473"/>
              <a:gd name="connsiteX0" fmla="*/ 2042201 w 4774328"/>
              <a:gd name="connsiteY0" fmla="*/ 4509 h 5474466"/>
              <a:gd name="connsiteX1" fmla="*/ 4774328 w 4774328"/>
              <a:gd name="connsiteY1" fmla="*/ 0 h 5474466"/>
              <a:gd name="connsiteX2" fmla="*/ 4765962 w 4774328"/>
              <a:gd name="connsiteY2" fmla="*/ 5474466 h 5474466"/>
              <a:gd name="connsiteX3" fmla="*/ 0 w 4774328"/>
              <a:gd name="connsiteY3" fmla="*/ 5467473 h 5474466"/>
              <a:gd name="connsiteX4" fmla="*/ 2042201 w 4774328"/>
              <a:gd name="connsiteY4" fmla="*/ 4509 h 5474466"/>
              <a:gd name="connsiteX0" fmla="*/ 2042201 w 4778853"/>
              <a:gd name="connsiteY0" fmla="*/ 0 h 5469957"/>
              <a:gd name="connsiteX1" fmla="*/ 4778853 w 4778853"/>
              <a:gd name="connsiteY1" fmla="*/ 4698 h 5469957"/>
              <a:gd name="connsiteX2" fmla="*/ 4765962 w 4778853"/>
              <a:gd name="connsiteY2" fmla="*/ 5469957 h 5469957"/>
              <a:gd name="connsiteX3" fmla="*/ 0 w 4778853"/>
              <a:gd name="connsiteY3" fmla="*/ 5462964 h 5469957"/>
              <a:gd name="connsiteX4" fmla="*/ 2042201 w 4778853"/>
              <a:gd name="connsiteY4" fmla="*/ 0 h 5469957"/>
              <a:gd name="connsiteX0" fmla="*/ 2042201 w 4781135"/>
              <a:gd name="connsiteY0" fmla="*/ 0 h 5462964"/>
              <a:gd name="connsiteX1" fmla="*/ 4778853 w 4781135"/>
              <a:gd name="connsiteY1" fmla="*/ 4698 h 5462964"/>
              <a:gd name="connsiteX2" fmla="*/ 4779535 w 4781135"/>
              <a:gd name="connsiteY2" fmla="*/ 5460751 h 5462964"/>
              <a:gd name="connsiteX3" fmla="*/ 0 w 4781135"/>
              <a:gd name="connsiteY3" fmla="*/ 5462964 h 5462964"/>
              <a:gd name="connsiteX4" fmla="*/ 2042201 w 4781135"/>
              <a:gd name="connsiteY4" fmla="*/ 0 h 5462964"/>
              <a:gd name="connsiteX0" fmla="*/ 2046725 w 4781135"/>
              <a:gd name="connsiteY0" fmla="*/ 0 h 5467567"/>
              <a:gd name="connsiteX1" fmla="*/ 4778853 w 4781135"/>
              <a:gd name="connsiteY1" fmla="*/ 9301 h 5467567"/>
              <a:gd name="connsiteX2" fmla="*/ 4779535 w 4781135"/>
              <a:gd name="connsiteY2" fmla="*/ 5465354 h 5467567"/>
              <a:gd name="connsiteX3" fmla="*/ 0 w 4781135"/>
              <a:gd name="connsiteY3" fmla="*/ 5467567 h 5467567"/>
              <a:gd name="connsiteX4" fmla="*/ 2046725 w 4781135"/>
              <a:gd name="connsiteY4" fmla="*/ 0 h 5467567"/>
              <a:gd name="connsiteX0" fmla="*/ 2046725 w 4779604"/>
              <a:gd name="connsiteY0" fmla="*/ 2821 h 5470388"/>
              <a:gd name="connsiteX1" fmla="*/ 4433343 w 4779604"/>
              <a:gd name="connsiteY1" fmla="*/ 0 h 5470388"/>
              <a:gd name="connsiteX2" fmla="*/ 4779535 w 4779604"/>
              <a:gd name="connsiteY2" fmla="*/ 5468175 h 5470388"/>
              <a:gd name="connsiteX3" fmla="*/ 0 w 4779604"/>
              <a:gd name="connsiteY3" fmla="*/ 5470388 h 5470388"/>
              <a:gd name="connsiteX4" fmla="*/ 2046725 w 4779604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3343" h="5470388">
                <a:moveTo>
                  <a:pt x="2046725" y="2821"/>
                </a:moveTo>
                <a:lnTo>
                  <a:pt x="4433343" y="0"/>
                </a:lnTo>
                <a:cubicBezTo>
                  <a:pt x="4427538" y="1820219"/>
                  <a:pt x="4431887" y="3647956"/>
                  <a:pt x="4426082" y="5468175"/>
                </a:cubicBezTo>
                <a:lnTo>
                  <a:pt x="0" y="5470388"/>
                </a:lnTo>
                <a:lnTo>
                  <a:pt x="2046725" y="2821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235253B-4788-48C3-8C5C-B27A4A2762F0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271D781-0BCC-494E-B7A3-16F3BF35C3D6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4D787DD-BBF4-4A33-9588-9B496123B2FC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1AFF213-746D-4026-BBDF-37085FA4ED9E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" name="Marcador de texto 5">
            <a:extLst>
              <a:ext uri="{FF2B5EF4-FFF2-40B4-BE49-F238E27FC236}">
                <a16:creationId xmlns:a16="http://schemas.microsoft.com/office/drawing/2014/main" id="{F1DDD6CC-4367-4C92-8DFA-810C67A783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04430" y="1396800"/>
            <a:ext cx="2414087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7" name="Marcador de texto 5">
            <a:extLst>
              <a:ext uri="{FF2B5EF4-FFF2-40B4-BE49-F238E27FC236}">
                <a16:creationId xmlns:a16="http://schemas.microsoft.com/office/drawing/2014/main" id="{7B89164F-9826-4814-8515-A61E08EB2A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04430" y="3106608"/>
            <a:ext cx="2414087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8" name="Marcador de texto 5">
            <a:extLst>
              <a:ext uri="{FF2B5EF4-FFF2-40B4-BE49-F238E27FC236}">
                <a16:creationId xmlns:a16="http://schemas.microsoft.com/office/drawing/2014/main" id="{A667C706-85AF-4EBD-861D-55FE6163B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04430" y="4821943"/>
            <a:ext cx="2414087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9" name="Marcador de texto 3">
            <a:extLst>
              <a:ext uri="{FF2B5EF4-FFF2-40B4-BE49-F238E27FC236}">
                <a16:creationId xmlns:a16="http://schemas.microsoft.com/office/drawing/2014/main" id="{6CFD4781-336D-4F3C-85AF-003EA049B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04520" y="2222453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chemeClr val="bg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0" name="Marcador de texto 3">
            <a:extLst>
              <a:ext uri="{FF2B5EF4-FFF2-40B4-BE49-F238E27FC236}">
                <a16:creationId xmlns:a16="http://schemas.microsoft.com/office/drawing/2014/main" id="{131273C2-7615-436D-990D-D20A0C2BE6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04520" y="2432899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chemeClr val="bg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1" name="Marcador de texto 3">
            <a:extLst>
              <a:ext uri="{FF2B5EF4-FFF2-40B4-BE49-F238E27FC236}">
                <a16:creationId xmlns:a16="http://schemas.microsoft.com/office/drawing/2014/main" id="{025BD441-33F7-4C41-84BC-606A7B4554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0925" y="3950669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chemeClr val="bg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2" name="Marcador de texto 3">
            <a:extLst>
              <a:ext uri="{FF2B5EF4-FFF2-40B4-BE49-F238E27FC236}">
                <a16:creationId xmlns:a16="http://schemas.microsoft.com/office/drawing/2014/main" id="{2017F5C9-F4AA-4820-84A9-FE1C4CF040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10925" y="4161115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3" name="Marcador de texto 3">
            <a:extLst>
              <a:ext uri="{FF2B5EF4-FFF2-40B4-BE49-F238E27FC236}">
                <a16:creationId xmlns:a16="http://schemas.microsoft.com/office/drawing/2014/main" id="{CD9D557B-731A-4486-89A3-A28FB18C3D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4520" y="5649955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chemeClr val="bg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4" name="Marcador de texto 3">
            <a:extLst>
              <a:ext uri="{FF2B5EF4-FFF2-40B4-BE49-F238E27FC236}">
                <a16:creationId xmlns:a16="http://schemas.microsoft.com/office/drawing/2014/main" id="{42607C9A-4672-4E5B-83FC-18EB739625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04520" y="5860401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275123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ext + relevant figures+fullimag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6E4ADC8-0B09-456C-98F3-35E3A84B826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05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EBCB333-58BB-B544-BBAA-8ED40584E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54805" y="1396800"/>
            <a:ext cx="2463133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0" name="Marcador de texto 5">
            <a:extLst>
              <a:ext uri="{FF2B5EF4-FFF2-40B4-BE49-F238E27FC236}">
                <a16:creationId xmlns:a16="http://schemas.microsoft.com/office/drawing/2014/main" id="{2C06ACCB-354C-3D41-AB30-002D49D29C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54805" y="3106608"/>
            <a:ext cx="2463133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2" name="Marcador de texto 5">
            <a:extLst>
              <a:ext uri="{FF2B5EF4-FFF2-40B4-BE49-F238E27FC236}">
                <a16:creationId xmlns:a16="http://schemas.microsoft.com/office/drawing/2014/main" id="{55898699-B5C9-1042-AB4E-4107C11BB4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54805" y="4821943"/>
            <a:ext cx="2463133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8D5A004-570A-094C-B900-71EF2C9421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54805" y="2181942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875879A7-B32B-1A41-AC83-2784AED7BE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54805" y="3889058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4" name="Marcador de texto 3">
            <a:extLst>
              <a:ext uri="{FF2B5EF4-FFF2-40B4-BE49-F238E27FC236}">
                <a16:creationId xmlns:a16="http://schemas.microsoft.com/office/drawing/2014/main" id="{E61C715B-7BD4-534A-8056-30CB1B8EDD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54805" y="5590858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5339118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1" y="1396800"/>
            <a:ext cx="4034934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5339118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AE2891-66DF-462A-B1BA-D359F8B895FC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DAFA182-F549-4DB6-8514-3778104EC9EE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EC6C7D4-8032-483B-A6F5-CAD20BEFBB5C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74DC1B-12AA-48F6-BA12-5D826A76C033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0888744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64">
            <a:extLst>
              <a:ext uri="{FF2B5EF4-FFF2-40B4-BE49-F238E27FC236}">
                <a16:creationId xmlns:a16="http://schemas.microsoft.com/office/drawing/2014/main" id="{F0B7DE41-1599-49B3-93C4-0B3B0875D63D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2029C39-A334-436E-9588-9BAC684EBA4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0" y="1989000"/>
            <a:ext cx="5722518" cy="2880000"/>
          </a:xfrm>
        </p:spPr>
        <p:txBody>
          <a:bodyPr anchor="ctr" anchorCtr="0"/>
          <a:lstStyle>
            <a:lvl1pPr>
              <a:defRPr sz="3600">
                <a:solidFill>
                  <a:srgbClr val="FF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6CA774E-1021-43B9-A285-055EEA9F4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9037" y="4896548"/>
            <a:ext cx="5721488" cy="360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6" name="Marcador de posición de imagen 2">
            <a:extLst>
              <a:ext uri="{FF2B5EF4-FFF2-40B4-BE49-F238E27FC236}">
                <a16:creationId xmlns:a16="http://schemas.microsoft.com/office/drawing/2014/main" id="{510BC262-CD2D-4FC1-BCF9-1EFA7587255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97" y="2270"/>
            <a:ext cx="6113780" cy="6857775"/>
          </a:xfrm>
          <a:custGeom>
            <a:avLst/>
            <a:gdLst>
              <a:gd name="connsiteX0" fmla="*/ 0 w 4672405"/>
              <a:gd name="connsiteY0" fmla="*/ 0 h 6858000"/>
              <a:gd name="connsiteX1" fmla="*/ 4672405 w 4672405"/>
              <a:gd name="connsiteY1" fmla="*/ 0 h 6858000"/>
              <a:gd name="connsiteX2" fmla="*/ 4672405 w 4672405"/>
              <a:gd name="connsiteY2" fmla="*/ 6858000 h 6858000"/>
              <a:gd name="connsiteX3" fmla="*/ 0 w 4672405"/>
              <a:gd name="connsiteY3" fmla="*/ 6858000 h 6858000"/>
              <a:gd name="connsiteX4" fmla="*/ 0 w 4672405"/>
              <a:gd name="connsiteY4" fmla="*/ 0 h 6858000"/>
              <a:gd name="connsiteX0" fmla="*/ 0 w 4672405"/>
              <a:gd name="connsiteY0" fmla="*/ 0 h 6860046"/>
              <a:gd name="connsiteX1" fmla="*/ 4672405 w 4672405"/>
              <a:gd name="connsiteY1" fmla="*/ 0 h 6860046"/>
              <a:gd name="connsiteX2" fmla="*/ 2080582 w 4672405"/>
              <a:gd name="connsiteY2" fmla="*/ 6860046 h 6860046"/>
              <a:gd name="connsiteX3" fmla="*/ 0 w 4672405"/>
              <a:gd name="connsiteY3" fmla="*/ 6858000 h 6860046"/>
              <a:gd name="connsiteX4" fmla="*/ 0 w 4672405"/>
              <a:gd name="connsiteY4" fmla="*/ 0 h 6860046"/>
              <a:gd name="connsiteX0" fmla="*/ 0 w 4193499"/>
              <a:gd name="connsiteY0" fmla="*/ 0 h 6860046"/>
              <a:gd name="connsiteX1" fmla="*/ 4193499 w 4193499"/>
              <a:gd name="connsiteY1" fmla="*/ 1270943 h 6860046"/>
              <a:gd name="connsiteX2" fmla="*/ 2080582 w 4193499"/>
              <a:gd name="connsiteY2" fmla="*/ 6860046 h 6860046"/>
              <a:gd name="connsiteX3" fmla="*/ 0 w 4193499"/>
              <a:gd name="connsiteY3" fmla="*/ 6858000 h 6860046"/>
              <a:gd name="connsiteX4" fmla="*/ 0 w 4193499"/>
              <a:gd name="connsiteY4" fmla="*/ 0 h 6860046"/>
              <a:gd name="connsiteX0" fmla="*/ 0 w 4193499"/>
              <a:gd name="connsiteY0" fmla="*/ 24560 h 5589103"/>
              <a:gd name="connsiteX1" fmla="*/ 4193499 w 4193499"/>
              <a:gd name="connsiteY1" fmla="*/ 0 h 5589103"/>
              <a:gd name="connsiteX2" fmla="*/ 2080582 w 4193499"/>
              <a:gd name="connsiteY2" fmla="*/ 5589103 h 5589103"/>
              <a:gd name="connsiteX3" fmla="*/ 0 w 4193499"/>
              <a:gd name="connsiteY3" fmla="*/ 5587057 h 5589103"/>
              <a:gd name="connsiteX4" fmla="*/ 0 w 4193499"/>
              <a:gd name="connsiteY4" fmla="*/ 24560 h 5589103"/>
              <a:gd name="connsiteX0" fmla="*/ 0 w 4201685"/>
              <a:gd name="connsiteY0" fmla="*/ 1 h 5564544"/>
              <a:gd name="connsiteX1" fmla="*/ 4201685 w 4201685"/>
              <a:gd name="connsiteY1" fmla="*/ 0 h 5564544"/>
              <a:gd name="connsiteX2" fmla="*/ 2080582 w 4201685"/>
              <a:gd name="connsiteY2" fmla="*/ 5564544 h 5564544"/>
              <a:gd name="connsiteX3" fmla="*/ 0 w 4201685"/>
              <a:gd name="connsiteY3" fmla="*/ 5562498 h 5564544"/>
              <a:gd name="connsiteX4" fmla="*/ 0 w 4201685"/>
              <a:gd name="connsiteY4" fmla="*/ 1 h 5564544"/>
              <a:gd name="connsiteX0" fmla="*/ 712220 w 4913905"/>
              <a:gd name="connsiteY0" fmla="*/ 1 h 5564544"/>
              <a:gd name="connsiteX1" fmla="*/ 4913905 w 4913905"/>
              <a:gd name="connsiteY1" fmla="*/ 0 h 5564544"/>
              <a:gd name="connsiteX2" fmla="*/ 2792802 w 4913905"/>
              <a:gd name="connsiteY2" fmla="*/ 5564544 h 5564544"/>
              <a:gd name="connsiteX3" fmla="*/ 0 w 4913905"/>
              <a:gd name="connsiteY3" fmla="*/ 5533846 h 5564544"/>
              <a:gd name="connsiteX4" fmla="*/ 712220 w 4913905"/>
              <a:gd name="connsiteY4" fmla="*/ 1 h 5564544"/>
              <a:gd name="connsiteX0" fmla="*/ 712220 w 4913905"/>
              <a:gd name="connsiteY0" fmla="*/ 1 h 5533846"/>
              <a:gd name="connsiteX1" fmla="*/ 4913905 w 4913905"/>
              <a:gd name="connsiteY1" fmla="*/ 0 h 5533846"/>
              <a:gd name="connsiteX2" fmla="*/ 2813269 w 4913905"/>
              <a:gd name="connsiteY2" fmla="*/ 5523612 h 5533846"/>
              <a:gd name="connsiteX3" fmla="*/ 0 w 4913905"/>
              <a:gd name="connsiteY3" fmla="*/ 5533846 h 5533846"/>
              <a:gd name="connsiteX4" fmla="*/ 712220 w 4913905"/>
              <a:gd name="connsiteY4" fmla="*/ 1 h 5533846"/>
              <a:gd name="connsiteX0" fmla="*/ 1 w 4913905"/>
              <a:gd name="connsiteY0" fmla="*/ 1 h 5533846"/>
              <a:gd name="connsiteX1" fmla="*/ 4913905 w 4913905"/>
              <a:gd name="connsiteY1" fmla="*/ 0 h 5533846"/>
              <a:gd name="connsiteX2" fmla="*/ 2813269 w 4913905"/>
              <a:gd name="connsiteY2" fmla="*/ 5523612 h 5533846"/>
              <a:gd name="connsiteX3" fmla="*/ 0 w 4913905"/>
              <a:gd name="connsiteY3" fmla="*/ 5533846 h 5533846"/>
              <a:gd name="connsiteX4" fmla="*/ 1 w 4913905"/>
              <a:gd name="connsiteY4" fmla="*/ 1 h 5533846"/>
              <a:gd name="connsiteX0" fmla="*/ 1 w 4913905"/>
              <a:gd name="connsiteY0" fmla="*/ 1 h 5523612"/>
              <a:gd name="connsiteX1" fmla="*/ 4913905 w 4913905"/>
              <a:gd name="connsiteY1" fmla="*/ 0 h 5523612"/>
              <a:gd name="connsiteX2" fmla="*/ 2813269 w 4913905"/>
              <a:gd name="connsiteY2" fmla="*/ 5523612 h 5523612"/>
              <a:gd name="connsiteX3" fmla="*/ 0 w 4913905"/>
              <a:gd name="connsiteY3" fmla="*/ 5521566 h 5523612"/>
              <a:gd name="connsiteX4" fmla="*/ 1 w 4913905"/>
              <a:gd name="connsiteY4" fmla="*/ 1 h 5523612"/>
              <a:gd name="connsiteX0" fmla="*/ 1 w 4913905"/>
              <a:gd name="connsiteY0" fmla="*/ 1 h 5521566"/>
              <a:gd name="connsiteX1" fmla="*/ 4913905 w 4913905"/>
              <a:gd name="connsiteY1" fmla="*/ 0 h 5521566"/>
              <a:gd name="connsiteX2" fmla="*/ 2819409 w 4913905"/>
              <a:gd name="connsiteY2" fmla="*/ 5517472 h 5521566"/>
              <a:gd name="connsiteX3" fmla="*/ 0 w 4913905"/>
              <a:gd name="connsiteY3" fmla="*/ 5521566 h 5521566"/>
              <a:gd name="connsiteX4" fmla="*/ 1 w 4913905"/>
              <a:gd name="connsiteY4" fmla="*/ 1 h 5521566"/>
              <a:gd name="connsiteX0" fmla="*/ 1 w 4926185"/>
              <a:gd name="connsiteY0" fmla="*/ 4094 h 5525659"/>
              <a:gd name="connsiteX1" fmla="*/ 4926185 w 4926185"/>
              <a:gd name="connsiteY1" fmla="*/ 0 h 5525659"/>
              <a:gd name="connsiteX2" fmla="*/ 2819409 w 4926185"/>
              <a:gd name="connsiteY2" fmla="*/ 5521565 h 5525659"/>
              <a:gd name="connsiteX3" fmla="*/ 0 w 4926185"/>
              <a:gd name="connsiteY3" fmla="*/ 5525659 h 5525659"/>
              <a:gd name="connsiteX4" fmla="*/ 1 w 4926185"/>
              <a:gd name="connsiteY4" fmla="*/ 4094 h 5525659"/>
              <a:gd name="connsiteX0" fmla="*/ 1 w 4926185"/>
              <a:gd name="connsiteY0" fmla="*/ 1 h 5525659"/>
              <a:gd name="connsiteX1" fmla="*/ 4926185 w 4926185"/>
              <a:gd name="connsiteY1" fmla="*/ 0 h 5525659"/>
              <a:gd name="connsiteX2" fmla="*/ 2819409 w 4926185"/>
              <a:gd name="connsiteY2" fmla="*/ 5521565 h 5525659"/>
              <a:gd name="connsiteX3" fmla="*/ 0 w 4926185"/>
              <a:gd name="connsiteY3" fmla="*/ 5525659 h 5525659"/>
              <a:gd name="connsiteX4" fmla="*/ 1 w 4926185"/>
              <a:gd name="connsiteY4" fmla="*/ 1 h 5525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26185" h="5525659">
                <a:moveTo>
                  <a:pt x="1" y="1"/>
                </a:moveTo>
                <a:lnTo>
                  <a:pt x="4926185" y="0"/>
                </a:lnTo>
                <a:lnTo>
                  <a:pt x="2819409" y="5521565"/>
                </a:lnTo>
                <a:lnTo>
                  <a:pt x="0" y="5525659"/>
                </a:lnTo>
                <a:cubicBezTo>
                  <a:pt x="0" y="3681044"/>
                  <a:pt x="1" y="1844616"/>
                  <a:pt x="1" y="1"/>
                </a:cubicBez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0C1D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4E0539-9C24-4E5A-9DE9-8AB388D39764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40435C7-9C55-450B-8569-D5205A33B052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5A9DED1-ECD1-4E25-A9F1-B6AF0EF3D3F3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D3AD07D-4D0D-4DC8-A62B-1BD2024ECA1D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72717846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+ relevant figur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280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-36512" y="0"/>
            <a:ext cx="3756025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403725" y="722639"/>
            <a:ext cx="7414792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03725" y="1396800"/>
            <a:ext cx="7414792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135" y="252000"/>
            <a:ext cx="7414792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6D1FE24-3FB1-4965-9A0E-D81523BCBBED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A65080D-E1EA-48ED-B342-4C5DF44CEEF9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54E3B3-1486-462C-BBA1-41483863087A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1619248-42DE-4D4A-9A07-42C87EE4E17F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6DDF7D5-9C5D-45F0-9425-A0CAF51D7922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2" name="Marcador de texto 5">
            <a:extLst>
              <a:ext uri="{FF2B5EF4-FFF2-40B4-BE49-F238E27FC236}">
                <a16:creationId xmlns:a16="http://schemas.microsoft.com/office/drawing/2014/main" id="{4D81F058-BB1B-4732-B551-7E9EB41C33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396800"/>
            <a:ext cx="2680270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3" name="Marcador de texto 5">
            <a:extLst>
              <a:ext uri="{FF2B5EF4-FFF2-40B4-BE49-F238E27FC236}">
                <a16:creationId xmlns:a16="http://schemas.microsoft.com/office/drawing/2014/main" id="{57B95884-2216-4ADC-B34B-9541D33D69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106608"/>
            <a:ext cx="2680270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4" name="Marcador de texto 5">
            <a:extLst>
              <a:ext uri="{FF2B5EF4-FFF2-40B4-BE49-F238E27FC236}">
                <a16:creationId xmlns:a16="http://schemas.microsoft.com/office/drawing/2014/main" id="{989A93DB-5FAD-479C-9104-222317A66E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4821943"/>
            <a:ext cx="2680270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5" name="Marcador de texto 3">
            <a:extLst>
              <a:ext uri="{FF2B5EF4-FFF2-40B4-BE49-F238E27FC236}">
                <a16:creationId xmlns:a16="http://schemas.microsoft.com/office/drawing/2014/main" id="{1F8BBCEC-F3C3-43DD-AD9F-8B0F66A7EE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1565" y="2222453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6" name="Marcador de texto 3">
            <a:extLst>
              <a:ext uri="{FF2B5EF4-FFF2-40B4-BE49-F238E27FC236}">
                <a16:creationId xmlns:a16="http://schemas.microsoft.com/office/drawing/2014/main" id="{0EBDB276-6978-4FA5-9C48-29F1DFB0DE3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1565" y="2432899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7" name="Marcador de texto 3">
            <a:extLst>
              <a:ext uri="{FF2B5EF4-FFF2-40B4-BE49-F238E27FC236}">
                <a16:creationId xmlns:a16="http://schemas.microsoft.com/office/drawing/2014/main" id="{CD777A97-2975-4E36-8B58-40F206D85E6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7970" y="3950669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8" name="Marcador de texto 3">
            <a:extLst>
              <a:ext uri="{FF2B5EF4-FFF2-40B4-BE49-F238E27FC236}">
                <a16:creationId xmlns:a16="http://schemas.microsoft.com/office/drawing/2014/main" id="{1D9B2011-005B-4F2A-A4B7-AC82BE52B5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7970" y="4161115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9" name="Marcador de texto 3">
            <a:extLst>
              <a:ext uri="{FF2B5EF4-FFF2-40B4-BE49-F238E27FC236}">
                <a16:creationId xmlns:a16="http://schemas.microsoft.com/office/drawing/2014/main" id="{D82EAFE6-9BA8-4F1B-A497-7ADBB01A11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1565" y="5649955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40" name="Marcador de texto 3">
            <a:extLst>
              <a:ext uri="{FF2B5EF4-FFF2-40B4-BE49-F238E27FC236}">
                <a16:creationId xmlns:a16="http://schemas.microsoft.com/office/drawing/2014/main" id="{95DC9C14-7E4A-445E-B3FC-D318A3A088F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1565" y="5860401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979961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ext + relevant figures+imag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8884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-22480" y="0"/>
            <a:ext cx="326791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476705" y="722639"/>
            <a:ext cx="5339118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76705" y="1396800"/>
            <a:ext cx="534382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115" y="252000"/>
            <a:ext cx="5339118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E88ABC6-3508-45D7-B3BD-99157607BE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45440" y="0"/>
            <a:ext cx="2844774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6425007-C1F1-4272-8C24-16DD4BA56766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C45CEBC-DFC8-49A3-8924-D39DB2FF6672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CF537F3-A857-4F40-8783-C1766F4BEDA7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B7B81D6-AA20-4DD5-B00E-170164D09F40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1" name="Marcador de texto 5">
            <a:extLst>
              <a:ext uri="{FF2B5EF4-FFF2-40B4-BE49-F238E27FC236}">
                <a16:creationId xmlns:a16="http://schemas.microsoft.com/office/drawing/2014/main" id="{16005AAB-4505-4EF7-ADC8-ED2F225864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396800"/>
            <a:ext cx="2680270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2" name="Marcador de texto 5">
            <a:extLst>
              <a:ext uri="{FF2B5EF4-FFF2-40B4-BE49-F238E27FC236}">
                <a16:creationId xmlns:a16="http://schemas.microsoft.com/office/drawing/2014/main" id="{5F9F0803-E894-4ADF-BD10-E9C51EED75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106608"/>
            <a:ext cx="2680270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3" name="Marcador de texto 5">
            <a:extLst>
              <a:ext uri="{FF2B5EF4-FFF2-40B4-BE49-F238E27FC236}">
                <a16:creationId xmlns:a16="http://schemas.microsoft.com/office/drawing/2014/main" id="{61D25BB2-14EC-49BD-B2A7-84E7280410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4821943"/>
            <a:ext cx="2680270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4" name="Marcador de texto 3">
            <a:extLst>
              <a:ext uri="{FF2B5EF4-FFF2-40B4-BE49-F238E27FC236}">
                <a16:creationId xmlns:a16="http://schemas.microsoft.com/office/drawing/2014/main" id="{18C2E845-DE97-46E9-AA4B-E4A3F27297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1565" y="2222453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5" name="Marcador de texto 3">
            <a:extLst>
              <a:ext uri="{FF2B5EF4-FFF2-40B4-BE49-F238E27FC236}">
                <a16:creationId xmlns:a16="http://schemas.microsoft.com/office/drawing/2014/main" id="{08C63D87-C63D-4845-BC0D-1747746316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1565" y="2432899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6" name="Marcador de texto 3">
            <a:extLst>
              <a:ext uri="{FF2B5EF4-FFF2-40B4-BE49-F238E27FC236}">
                <a16:creationId xmlns:a16="http://schemas.microsoft.com/office/drawing/2014/main" id="{AFF0D77A-D381-49A9-9C7D-EE18D61BB9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7970" y="3950669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7" name="Marcador de texto 3">
            <a:extLst>
              <a:ext uri="{FF2B5EF4-FFF2-40B4-BE49-F238E27FC236}">
                <a16:creationId xmlns:a16="http://schemas.microsoft.com/office/drawing/2014/main" id="{DAE5EB56-9454-4A61-A1BA-1E2F008005C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7970" y="4161115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8" name="Marcador de texto 3">
            <a:extLst>
              <a:ext uri="{FF2B5EF4-FFF2-40B4-BE49-F238E27FC236}">
                <a16:creationId xmlns:a16="http://schemas.microsoft.com/office/drawing/2014/main" id="{8A839285-DE71-421B-8ACE-66F45262110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1565" y="5649955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9" name="Marcador de texto 3">
            <a:extLst>
              <a:ext uri="{FF2B5EF4-FFF2-40B4-BE49-F238E27FC236}">
                <a16:creationId xmlns:a16="http://schemas.microsoft.com/office/drawing/2014/main" id="{965D9AF4-C6D2-427C-B3C3-3C37E34C96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1565" y="5860401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544865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+text+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E88ABC6-3508-45D7-B3BD-99157607BE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3245440" cy="6858000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1276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3245440" y="0"/>
            <a:ext cx="285056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EBCB333-58BB-B544-BBAA-8ED40584E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88552" y="1396800"/>
            <a:ext cx="837678" cy="797081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8D5A004-570A-094C-B900-71EF2C9421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99817" y="1393825"/>
            <a:ext cx="4020707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6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447258" y="2782607"/>
            <a:ext cx="2424562" cy="12743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788275" y="1744519"/>
            <a:ext cx="4032250" cy="4493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6441" y="1396800"/>
            <a:ext cx="2424562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4" name="Marcador de texto 5">
            <a:extLst>
              <a:ext uri="{FF2B5EF4-FFF2-40B4-BE49-F238E27FC236}">
                <a16:creationId xmlns:a16="http://schemas.microsoft.com/office/drawing/2014/main" id="{75F0A164-C6D2-41BE-B3C2-D78BEAB2F6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78907" y="3091977"/>
            <a:ext cx="837678" cy="797081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25" name="Marcador de texto 3">
            <a:extLst>
              <a:ext uri="{FF2B5EF4-FFF2-40B4-BE49-F238E27FC236}">
                <a16:creationId xmlns:a16="http://schemas.microsoft.com/office/drawing/2014/main" id="{591C145B-826B-4028-BD58-E397E52730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790172" y="3089002"/>
            <a:ext cx="4020707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6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D00F373C-0EBD-4504-8D67-E35870BFF0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778630" y="3439696"/>
            <a:ext cx="4032250" cy="4493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Marcador de texto 5">
            <a:extLst>
              <a:ext uri="{FF2B5EF4-FFF2-40B4-BE49-F238E27FC236}">
                <a16:creationId xmlns:a16="http://schemas.microsoft.com/office/drawing/2014/main" id="{47F80355-B7BD-4E65-AA3A-B1B0B7BB01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786544" y="4670936"/>
            <a:ext cx="837678" cy="797081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28" name="Marcador de texto 3">
            <a:extLst>
              <a:ext uri="{FF2B5EF4-FFF2-40B4-BE49-F238E27FC236}">
                <a16:creationId xmlns:a16="http://schemas.microsoft.com/office/drawing/2014/main" id="{34C6A042-7DB8-41DF-A005-B281DBDFBD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97809" y="4667961"/>
            <a:ext cx="4020707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6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5261A193-C1E8-4FB8-A24F-E6790AFE91D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6267" y="5018655"/>
            <a:ext cx="4032250" cy="4493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5178992-0D25-4414-A546-FAE8D2D2E3E1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1FDF39F-08FA-4D8B-A52E-3C5C27F8500B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25BFED6-6BBF-4AA4-8268-D8D790C8448A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F10321-F126-4292-8A54-B9181C2F401E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96468719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age+text+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E88ABC6-3508-45D7-B3BD-99157607BE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46560" y="0"/>
            <a:ext cx="3245440" cy="6878726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412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6086354" y="0"/>
            <a:ext cx="285056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EBCB333-58BB-B544-BBAA-8ED40584E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0162" y="1396800"/>
            <a:ext cx="837678" cy="797081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8D5A004-570A-094C-B900-71EF2C9421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91427" y="1393825"/>
            <a:ext cx="4020707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6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88172" y="2782607"/>
            <a:ext cx="2424562" cy="12743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79885" y="1744519"/>
            <a:ext cx="4032250" cy="449362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7355" y="1396800"/>
            <a:ext cx="2424562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4" name="Marcador de texto 5">
            <a:extLst>
              <a:ext uri="{FF2B5EF4-FFF2-40B4-BE49-F238E27FC236}">
                <a16:creationId xmlns:a16="http://schemas.microsoft.com/office/drawing/2014/main" id="{75F0A164-C6D2-41BE-B3C2-D78BEAB2F6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0517" y="3091977"/>
            <a:ext cx="837678" cy="797081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25" name="Marcador de texto 3">
            <a:extLst>
              <a:ext uri="{FF2B5EF4-FFF2-40B4-BE49-F238E27FC236}">
                <a16:creationId xmlns:a16="http://schemas.microsoft.com/office/drawing/2014/main" id="{591C145B-826B-4028-BD58-E397E52730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81782" y="3089002"/>
            <a:ext cx="4020707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6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D00F373C-0EBD-4504-8D67-E35870BFF0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70240" y="3439696"/>
            <a:ext cx="4032250" cy="449362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Marcador de texto 5">
            <a:extLst>
              <a:ext uri="{FF2B5EF4-FFF2-40B4-BE49-F238E27FC236}">
                <a16:creationId xmlns:a16="http://schemas.microsoft.com/office/drawing/2014/main" id="{47F80355-B7BD-4E65-AA3A-B1B0B7BB01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154" y="4670936"/>
            <a:ext cx="837678" cy="797081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28" name="Marcador de texto 3">
            <a:extLst>
              <a:ext uri="{FF2B5EF4-FFF2-40B4-BE49-F238E27FC236}">
                <a16:creationId xmlns:a16="http://schemas.microsoft.com/office/drawing/2014/main" id="{34C6A042-7DB8-41DF-A005-B281DBDFBD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89419" y="4667961"/>
            <a:ext cx="4020707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6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5261A193-C1E8-4FB8-A24F-E6790AFE91D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377877" y="5018655"/>
            <a:ext cx="4032250" cy="449362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5A907A0-3C38-4D4C-B63E-B6D1A80355FD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7DF807A-14D7-4689-AFE5-DBEADA29FABD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C618635-424F-4818-ADC8-74E5C3F58F48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563B7B5-42DA-4284-A1CC-EF12A13191E1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41255242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ext + relevant figures+fullimag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6E4ADC8-0B09-456C-98F3-35E3A84B826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2237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EBCB333-58BB-B544-BBAA-8ED40584E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0517" y="1396800"/>
            <a:ext cx="2463133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0" name="Marcador de texto 5">
            <a:extLst>
              <a:ext uri="{FF2B5EF4-FFF2-40B4-BE49-F238E27FC236}">
                <a16:creationId xmlns:a16="http://schemas.microsoft.com/office/drawing/2014/main" id="{2C06ACCB-354C-3D41-AB30-002D49D29C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0517" y="3106608"/>
            <a:ext cx="2463133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2" name="Marcador de texto 5">
            <a:extLst>
              <a:ext uri="{FF2B5EF4-FFF2-40B4-BE49-F238E27FC236}">
                <a16:creationId xmlns:a16="http://schemas.microsoft.com/office/drawing/2014/main" id="{55898699-B5C9-1042-AB4E-4107C11BB4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0517" y="4821943"/>
            <a:ext cx="2463133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8D5A004-570A-094C-B900-71EF2C9421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517" y="2181942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875879A7-B32B-1A41-AC83-2784AED7BE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0517" y="3889058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4" name="Marcador de texto 3">
            <a:extLst>
              <a:ext uri="{FF2B5EF4-FFF2-40B4-BE49-F238E27FC236}">
                <a16:creationId xmlns:a16="http://schemas.microsoft.com/office/drawing/2014/main" id="{E61C715B-7BD4-534A-8056-30CB1B8EDD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0517" y="5590858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482168" y="722639"/>
            <a:ext cx="5339118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82168" y="1396800"/>
            <a:ext cx="533577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578" y="252000"/>
            <a:ext cx="5339118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FD205B9-FAA3-4A0C-90C7-45BD6AA18BF0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F8C6DB5-D9AC-4D73-A780-B87A5D62902F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65A4C5-6E4F-4D4E-B81B-1B7190DE0A81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DB8562E-6E9A-4BB4-A54F-5AE6EA4F85DC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880576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llery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882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5339118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1" y="1396800"/>
            <a:ext cx="5337528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5339118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E88ABC6-3508-45D7-B3BD-99157607BE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1" y="1393825"/>
            <a:ext cx="2631310" cy="203517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439147A0-D8ED-48AE-A0B9-BF2EC8001FA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7207" y="1393823"/>
            <a:ext cx="2631310" cy="4754975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E5615A31-C9B5-440B-9CF1-C0CB53E6AC9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3771309"/>
            <a:ext cx="2631310" cy="2380253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08E995EF-CD4B-44D3-8287-87982ACEC439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F38B64-FDBA-4B83-946A-1B443D99D4E7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CCB7A68-2158-45F6-BC6B-87E3662CBAC3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4285C1-08CA-4246-98A8-827B2F7587A4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079840B-A106-4733-AA82-A76189D14FD6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50304862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ller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185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73065" y="722639"/>
            <a:ext cx="1144905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1475" y="1396800"/>
            <a:ext cx="3348038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252000"/>
            <a:ext cx="114490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E88ABC6-3508-45D7-B3BD-99157607BE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3725" y="1396800"/>
            <a:ext cx="7414792" cy="20322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1704240-0B41-41FF-A04D-29C1203B79B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3725" y="3534259"/>
            <a:ext cx="3384550" cy="26173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DEC3E18B-2014-4B10-9B4A-54E41D160C0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445541" y="3534259"/>
            <a:ext cx="3372976" cy="26173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Graphic 10">
            <a:extLst>
              <a:ext uri="{FF2B5EF4-FFF2-40B4-BE49-F238E27FC236}">
                <a16:creationId xmlns:a16="http://schemas.microsoft.com/office/drawing/2014/main" id="{F45A5C7C-6B1F-4A6C-BCB3-63E9EE96EC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349703B4-A07C-4490-A719-680F8CF49444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843A16A-C90C-48C0-ACB5-4FA810C5B094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D5FB48-94D8-45F3-BF6A-9A862C57CCCF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3DE83E-DC2A-4444-8D88-72F110CD2BCA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E89B657-3391-4E16-8850-21B714215D8A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55980192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allery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1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5339118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1475" y="1396800"/>
            <a:ext cx="5337528" cy="20322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5339118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E88ABC6-3508-45D7-B3BD-99157607BE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1" y="1393825"/>
            <a:ext cx="5724524" cy="4757738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08E995EF-CD4B-44D3-8287-87982ACEC439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CDAEB77-60F5-4294-ACBA-811CBB4788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2570" y="3893946"/>
            <a:ext cx="5337528" cy="2032200"/>
          </a:xfrm>
        </p:spPr>
        <p:txBody>
          <a:bodyPr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F6CD0F3-9297-4171-88D4-FF68E7AB1E03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4E088A-3691-4AFA-ACE1-A7DAA5B46439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C22BE30-F3FB-4420-9314-31634F09A6A4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2C63D8A-46C9-4654-87D7-51E8D1C538E1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54605252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3/4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9625F9-D0F7-4F1D-9E75-EFCBE6D108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029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9625F9-D0F7-4F1D-9E75-EFCBE6D10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717818D-03D3-4088-B4F5-5C9036181D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8435975" y="0"/>
            <a:ext cx="3756025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7FA79601-6D75-134E-BA64-A5A7233E509E}"/>
              </a:ext>
            </a:extLst>
          </p:cNvPr>
          <p:cNvSpPr/>
          <p:nvPr userDrawn="1"/>
        </p:nvSpPr>
        <p:spPr>
          <a:xfrm>
            <a:off x="8168715" y="5919790"/>
            <a:ext cx="267260" cy="9382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777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3671ED8-253E-42AD-9321-DDBCD673C4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8791" y="1396800"/>
            <a:ext cx="77760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Graphic 10">
            <a:extLst>
              <a:ext uri="{FF2B5EF4-FFF2-40B4-BE49-F238E27FC236}">
                <a16:creationId xmlns:a16="http://schemas.microsoft.com/office/drawing/2014/main" id="{8485A29C-6C7F-4158-83E0-BF313911FC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B76B55EC-5CB2-4B0C-A95A-57651D762C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0" y="252000"/>
            <a:ext cx="777600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4943F093-CB74-4794-87AE-3A4947D0B4BE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6053548-D07B-454B-8A34-644179666B86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AD687B1-549A-4C04-927A-286C11313354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9CF0281-0D51-4053-8D2A-88AEF1574694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55906FE-9900-4E38-AEB1-EFFDFB52CE5B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CuadroTexto 64">
            <a:extLst>
              <a:ext uri="{FF2B5EF4-FFF2-40B4-BE49-F238E27FC236}">
                <a16:creationId xmlns:a16="http://schemas.microsoft.com/office/drawing/2014/main" id="{E298BD46-FCA7-42C3-9657-3598633C0085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1631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3/4 lef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469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8435975" y="0"/>
            <a:ext cx="3756025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777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1" y="1396800"/>
            <a:ext cx="77760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777600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437199" y="0"/>
            <a:ext cx="375646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F7A454-C642-41A2-AD1E-F520445F3C2C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46C3FEB-C9C3-4BD5-BC0E-A736FAEE8406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60373B8-D891-4249-9614-2E465CD87B49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A8AEE99-9209-4034-9BD9-159A7D3215CD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CuadroTexto 64">
            <a:extLst>
              <a:ext uri="{FF2B5EF4-FFF2-40B4-BE49-F238E27FC236}">
                <a16:creationId xmlns:a16="http://schemas.microsoft.com/office/drawing/2014/main" id="{0D24D440-B731-4577-B07C-3F9F484510F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15847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gled image+featured content (left)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0936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4" name="CuadroTexto 64">
            <a:extLst>
              <a:ext uri="{FF2B5EF4-FFF2-40B4-BE49-F238E27FC236}">
                <a16:creationId xmlns:a16="http://schemas.microsoft.com/office/drawing/2014/main" id="{CC2249F8-C077-487B-9BA3-4B911902A356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CuadroTexto 64">
            <a:extLst>
              <a:ext uri="{FF2B5EF4-FFF2-40B4-BE49-F238E27FC236}">
                <a16:creationId xmlns:a16="http://schemas.microsoft.com/office/drawing/2014/main" id="{08E9C9DD-93B5-4058-A8FA-3D88D1252332}"/>
              </a:ext>
            </a:extLst>
          </p:cNvPr>
          <p:cNvSpPr txBox="1"/>
          <p:nvPr userDrawn="1"/>
        </p:nvSpPr>
        <p:spPr>
          <a:xfrm>
            <a:off x="11034703" y="66016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CF8B2027-CADA-4A55-866F-0018F2D74C47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8067556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67CC2087-C2AD-4503-B547-64C2129C73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0" y="252000"/>
            <a:ext cx="8068775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2" descr="Body text will be presented like this">
            <a:extLst>
              <a:ext uri="{FF2B5EF4-FFF2-40B4-BE49-F238E27FC236}">
                <a16:creationId xmlns:a16="http://schemas.microsoft.com/office/drawing/2014/main" id="{01B223B4-02BB-4FF0-8A80-1EAB225C9D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7738" y="1951367"/>
            <a:ext cx="5148262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Marcador de texto 5">
            <a:extLst>
              <a:ext uri="{FF2B5EF4-FFF2-40B4-BE49-F238E27FC236}">
                <a16:creationId xmlns:a16="http://schemas.microsoft.com/office/drawing/2014/main" id="{11953EB9-C648-4B79-853F-4D9A8D37AB2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7738" y="1584167"/>
            <a:ext cx="2628000" cy="23971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16" name="Text Placeholder 12" descr="Body text will be presented like this">
            <a:extLst>
              <a:ext uri="{FF2B5EF4-FFF2-40B4-BE49-F238E27FC236}">
                <a16:creationId xmlns:a16="http://schemas.microsoft.com/office/drawing/2014/main" id="{EB4ED9F0-E546-4459-8513-5347A1A90C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7738" y="3495142"/>
            <a:ext cx="5148262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texto 5">
            <a:extLst>
              <a:ext uri="{FF2B5EF4-FFF2-40B4-BE49-F238E27FC236}">
                <a16:creationId xmlns:a16="http://schemas.microsoft.com/office/drawing/2014/main" id="{2003E94C-F30A-4344-AE01-6B928467B6F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7738" y="3127942"/>
            <a:ext cx="2628000" cy="23971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18" name="Text Placeholder 12" descr="Body text will be presented like this">
            <a:extLst>
              <a:ext uri="{FF2B5EF4-FFF2-40B4-BE49-F238E27FC236}">
                <a16:creationId xmlns:a16="http://schemas.microsoft.com/office/drawing/2014/main" id="{ABCB863E-CD12-4AE9-AE7D-E5C529E9115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47738" y="5038917"/>
            <a:ext cx="5148262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texto 5">
            <a:extLst>
              <a:ext uri="{FF2B5EF4-FFF2-40B4-BE49-F238E27FC236}">
                <a16:creationId xmlns:a16="http://schemas.microsoft.com/office/drawing/2014/main" id="{F0FC943F-19E3-40EB-A742-E957821227B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47738" y="4671717"/>
            <a:ext cx="2628000" cy="23971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pic>
        <p:nvPicPr>
          <p:cNvPr id="20" name="Graphic 10">
            <a:extLst>
              <a:ext uri="{FF2B5EF4-FFF2-40B4-BE49-F238E27FC236}">
                <a16:creationId xmlns:a16="http://schemas.microsoft.com/office/drawing/2014/main" id="{35F9E0C5-8FB9-4FF5-B107-1BFE331BD34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1" name="Marcador de posición de imagen 2">
            <a:extLst>
              <a:ext uri="{FF2B5EF4-FFF2-40B4-BE49-F238E27FC236}">
                <a16:creationId xmlns:a16="http://schemas.microsoft.com/office/drawing/2014/main" id="{9D2999F6-7E2A-41F3-97C5-28E6F6F4EDC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38529" y="-14050"/>
            <a:ext cx="5670915" cy="6877222"/>
          </a:xfrm>
          <a:custGeom>
            <a:avLst/>
            <a:gdLst>
              <a:gd name="connsiteX0" fmla="*/ 0 w 4592124"/>
              <a:gd name="connsiteY0" fmla="*/ 0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0 w 4592124"/>
              <a:gd name="connsiteY4" fmla="*/ 0 h 6858000"/>
              <a:gd name="connsiteX0" fmla="*/ 2549525 w 4592124"/>
              <a:gd name="connsiteY0" fmla="*/ 1058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2549525 w 4592124"/>
              <a:gd name="connsiteY4" fmla="*/ 1058 h 6858000"/>
              <a:gd name="connsiteX0" fmla="*/ 2549525 w 4592124"/>
              <a:gd name="connsiteY0" fmla="*/ 0 h 6856942"/>
              <a:gd name="connsiteX1" fmla="*/ 4592124 w 4592124"/>
              <a:gd name="connsiteY1" fmla="*/ 1371762 h 6856942"/>
              <a:gd name="connsiteX2" fmla="*/ 4592124 w 4592124"/>
              <a:gd name="connsiteY2" fmla="*/ 6856942 h 6856942"/>
              <a:gd name="connsiteX3" fmla="*/ 0 w 4592124"/>
              <a:gd name="connsiteY3" fmla="*/ 6856942 h 6856942"/>
              <a:gd name="connsiteX4" fmla="*/ 2549525 w 4592124"/>
              <a:gd name="connsiteY4" fmla="*/ 0 h 6856942"/>
              <a:gd name="connsiteX0" fmla="*/ 2045812 w 4592124"/>
              <a:gd name="connsiteY0" fmla="*/ 1058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45812 w 4592124"/>
              <a:gd name="connsiteY4" fmla="*/ 1058 h 5485180"/>
              <a:gd name="connsiteX0" fmla="*/ 2028628 w 4592124"/>
              <a:gd name="connsiteY0" fmla="*/ 36027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28628 w 4592124"/>
              <a:gd name="connsiteY4" fmla="*/ 36027 h 5485180"/>
              <a:gd name="connsiteX0" fmla="*/ 2028628 w 4592124"/>
              <a:gd name="connsiteY0" fmla="*/ 4509 h 5453662"/>
              <a:gd name="connsiteX1" fmla="*/ 4568296 w 4592124"/>
              <a:gd name="connsiteY1" fmla="*/ 0 h 5453662"/>
              <a:gd name="connsiteX2" fmla="*/ 4592124 w 4592124"/>
              <a:gd name="connsiteY2" fmla="*/ 5453662 h 5453662"/>
              <a:gd name="connsiteX3" fmla="*/ 0 w 4592124"/>
              <a:gd name="connsiteY3" fmla="*/ 5453662 h 5453662"/>
              <a:gd name="connsiteX4" fmla="*/ 2028628 w 4592124"/>
              <a:gd name="connsiteY4" fmla="*/ 4509 h 5453662"/>
              <a:gd name="connsiteX0" fmla="*/ 2028628 w 4743341"/>
              <a:gd name="connsiteY0" fmla="*/ 4509 h 5460656"/>
              <a:gd name="connsiteX1" fmla="*/ 4568296 w 4743341"/>
              <a:gd name="connsiteY1" fmla="*/ 0 h 5460656"/>
              <a:gd name="connsiteX2" fmla="*/ 4743341 w 4743341"/>
              <a:gd name="connsiteY2" fmla="*/ 5460656 h 5460656"/>
              <a:gd name="connsiteX3" fmla="*/ 0 w 4743341"/>
              <a:gd name="connsiteY3" fmla="*/ 5453662 h 5460656"/>
              <a:gd name="connsiteX4" fmla="*/ 2028628 w 4743341"/>
              <a:gd name="connsiteY4" fmla="*/ 4509 h 5460656"/>
              <a:gd name="connsiteX0" fmla="*/ 2028628 w 4760755"/>
              <a:gd name="connsiteY0" fmla="*/ 4509 h 5460656"/>
              <a:gd name="connsiteX1" fmla="*/ 4760755 w 4760755"/>
              <a:gd name="connsiteY1" fmla="*/ 0 h 5460656"/>
              <a:gd name="connsiteX2" fmla="*/ 4743341 w 4760755"/>
              <a:gd name="connsiteY2" fmla="*/ 5460656 h 5460656"/>
              <a:gd name="connsiteX3" fmla="*/ 0 w 4760755"/>
              <a:gd name="connsiteY3" fmla="*/ 5453662 h 5460656"/>
              <a:gd name="connsiteX4" fmla="*/ 2028628 w 4760755"/>
              <a:gd name="connsiteY4" fmla="*/ 4509 h 5460656"/>
              <a:gd name="connsiteX0" fmla="*/ 2042201 w 4774328"/>
              <a:gd name="connsiteY0" fmla="*/ 4509 h 5467473"/>
              <a:gd name="connsiteX1" fmla="*/ 4774328 w 4774328"/>
              <a:gd name="connsiteY1" fmla="*/ 0 h 5467473"/>
              <a:gd name="connsiteX2" fmla="*/ 4756914 w 4774328"/>
              <a:gd name="connsiteY2" fmla="*/ 5460656 h 5467473"/>
              <a:gd name="connsiteX3" fmla="*/ 0 w 4774328"/>
              <a:gd name="connsiteY3" fmla="*/ 5467473 h 5467473"/>
              <a:gd name="connsiteX4" fmla="*/ 2042201 w 4774328"/>
              <a:gd name="connsiteY4" fmla="*/ 4509 h 5467473"/>
              <a:gd name="connsiteX0" fmla="*/ 2042201 w 4774328"/>
              <a:gd name="connsiteY0" fmla="*/ 4509 h 5474466"/>
              <a:gd name="connsiteX1" fmla="*/ 4774328 w 4774328"/>
              <a:gd name="connsiteY1" fmla="*/ 0 h 5474466"/>
              <a:gd name="connsiteX2" fmla="*/ 4765962 w 4774328"/>
              <a:gd name="connsiteY2" fmla="*/ 5474466 h 5474466"/>
              <a:gd name="connsiteX3" fmla="*/ 0 w 4774328"/>
              <a:gd name="connsiteY3" fmla="*/ 5467473 h 5474466"/>
              <a:gd name="connsiteX4" fmla="*/ 2042201 w 4774328"/>
              <a:gd name="connsiteY4" fmla="*/ 4509 h 5474466"/>
              <a:gd name="connsiteX0" fmla="*/ 2042201 w 4778853"/>
              <a:gd name="connsiteY0" fmla="*/ 0 h 5469957"/>
              <a:gd name="connsiteX1" fmla="*/ 4778853 w 4778853"/>
              <a:gd name="connsiteY1" fmla="*/ 4698 h 5469957"/>
              <a:gd name="connsiteX2" fmla="*/ 4765962 w 4778853"/>
              <a:gd name="connsiteY2" fmla="*/ 5469957 h 5469957"/>
              <a:gd name="connsiteX3" fmla="*/ 0 w 4778853"/>
              <a:gd name="connsiteY3" fmla="*/ 5462964 h 5469957"/>
              <a:gd name="connsiteX4" fmla="*/ 2042201 w 4778853"/>
              <a:gd name="connsiteY4" fmla="*/ 0 h 5469957"/>
              <a:gd name="connsiteX0" fmla="*/ 2042201 w 4781135"/>
              <a:gd name="connsiteY0" fmla="*/ 0 h 5462964"/>
              <a:gd name="connsiteX1" fmla="*/ 4778853 w 4781135"/>
              <a:gd name="connsiteY1" fmla="*/ 4698 h 5462964"/>
              <a:gd name="connsiteX2" fmla="*/ 4779535 w 4781135"/>
              <a:gd name="connsiteY2" fmla="*/ 5460751 h 5462964"/>
              <a:gd name="connsiteX3" fmla="*/ 0 w 4781135"/>
              <a:gd name="connsiteY3" fmla="*/ 5462964 h 5462964"/>
              <a:gd name="connsiteX4" fmla="*/ 2042201 w 4781135"/>
              <a:gd name="connsiteY4" fmla="*/ 0 h 5462964"/>
              <a:gd name="connsiteX0" fmla="*/ 2046725 w 4781135"/>
              <a:gd name="connsiteY0" fmla="*/ 0 h 5467567"/>
              <a:gd name="connsiteX1" fmla="*/ 4778853 w 4781135"/>
              <a:gd name="connsiteY1" fmla="*/ 9301 h 5467567"/>
              <a:gd name="connsiteX2" fmla="*/ 4779535 w 4781135"/>
              <a:gd name="connsiteY2" fmla="*/ 5465354 h 5467567"/>
              <a:gd name="connsiteX3" fmla="*/ 0 w 4781135"/>
              <a:gd name="connsiteY3" fmla="*/ 5467567 h 5467567"/>
              <a:gd name="connsiteX4" fmla="*/ 2046725 w 4781135"/>
              <a:gd name="connsiteY4" fmla="*/ 0 h 5467567"/>
              <a:gd name="connsiteX0" fmla="*/ 2046725 w 4779604"/>
              <a:gd name="connsiteY0" fmla="*/ 2821 h 5470388"/>
              <a:gd name="connsiteX1" fmla="*/ 4433343 w 4779604"/>
              <a:gd name="connsiteY1" fmla="*/ 0 h 5470388"/>
              <a:gd name="connsiteX2" fmla="*/ 4779535 w 4779604"/>
              <a:gd name="connsiteY2" fmla="*/ 5468175 h 5470388"/>
              <a:gd name="connsiteX3" fmla="*/ 0 w 4779604"/>
              <a:gd name="connsiteY3" fmla="*/ 5470388 h 5470388"/>
              <a:gd name="connsiteX4" fmla="*/ 2046725 w 4779604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3343" h="5470388">
                <a:moveTo>
                  <a:pt x="2046725" y="2821"/>
                </a:moveTo>
                <a:lnTo>
                  <a:pt x="4433343" y="0"/>
                </a:lnTo>
                <a:cubicBezTo>
                  <a:pt x="4427538" y="1820219"/>
                  <a:pt x="4431887" y="3647956"/>
                  <a:pt x="4426082" y="5468175"/>
                </a:cubicBezTo>
                <a:lnTo>
                  <a:pt x="0" y="5470388"/>
                </a:lnTo>
                <a:lnTo>
                  <a:pt x="2046725" y="2821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D0DFB76-E40E-4BC4-B5DC-DCD645ACC8BF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6432175-90E4-40EE-B292-F80AF0363540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691BC1F-8BED-4FA8-94A8-E07ADD007964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9B1766B-1A6C-4A98-B489-8781DE0A150C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18369314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s 1/2 lef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315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6096001" y="0"/>
            <a:ext cx="6096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515812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515812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1" y="0"/>
            <a:ext cx="609599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2" name="Marcador de texto 3">
            <a:extLst>
              <a:ext uri="{FF2B5EF4-FFF2-40B4-BE49-F238E27FC236}">
                <a16:creationId xmlns:a16="http://schemas.microsoft.com/office/drawing/2014/main" id="{5105EC19-A89A-4413-975E-4287E3F2A1C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871" y="2235395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63E77FB-D414-4658-AAE4-68067F066AC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4672" y="2556738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7D816371-9E8A-49A2-815C-80865CB7C54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300266" y="2235395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D93596B-1285-477F-B2D0-FD8228BECA9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03067" y="2556738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8CD6D356-74C7-4043-ADB7-B47A4764417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4672" y="4061192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86D0BEF-30D3-49F9-833D-BA4BC8AB22A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77473" y="4382535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Marcador de texto 3">
            <a:extLst>
              <a:ext uri="{FF2B5EF4-FFF2-40B4-BE49-F238E27FC236}">
                <a16:creationId xmlns:a16="http://schemas.microsoft.com/office/drawing/2014/main" id="{D89228B9-9AA6-485D-9B44-7B24906D15C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303067" y="4061192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256A4F92-9CCE-4911-88AE-117B4DACBA6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05868" y="4382535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1881D0F-7BC0-47DA-B8C9-C012ED7D30D8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A7B12E5-433C-4536-AFE0-9EE017F038BC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3E791B4-C43E-4934-ABBC-8CF37BD2F120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0741EDD-49B8-4F8E-A565-B24A1F7D2D81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82945017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s 1/2 righ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3176" y="0"/>
            <a:ext cx="6096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76" y="0"/>
            <a:ext cx="609599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1753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657596" y="722639"/>
            <a:ext cx="515812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56006" y="252000"/>
            <a:ext cx="515812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2" name="Marcador de texto 3">
            <a:extLst>
              <a:ext uri="{FF2B5EF4-FFF2-40B4-BE49-F238E27FC236}">
                <a16:creationId xmlns:a16="http://schemas.microsoft.com/office/drawing/2014/main" id="{5105EC19-A89A-4413-975E-4287E3F2A1C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660676" y="2235395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63E77FB-D414-4658-AAE4-68067F066AC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663477" y="2550951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7D816371-9E8A-49A2-815C-80865CB7C54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589071" y="2235395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D93596B-1285-477F-B2D0-FD8228BECA9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591872" y="2550951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8CD6D356-74C7-4043-ADB7-B47A4764417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63477" y="4061192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86D0BEF-30D3-49F9-833D-BA4BC8AB22A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666278" y="4376748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Marcador de texto 3">
            <a:extLst>
              <a:ext uri="{FF2B5EF4-FFF2-40B4-BE49-F238E27FC236}">
                <a16:creationId xmlns:a16="http://schemas.microsoft.com/office/drawing/2014/main" id="{D89228B9-9AA6-485D-9B44-7B24906D15C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591872" y="4061192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256A4F92-9CCE-4911-88AE-117B4DACBA6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594673" y="4376748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6398569-A327-4A40-B91C-0398CAE7566A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EBF5CB5-9136-4318-BFDB-18D2DC8CCED9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1CBAAD6-04C0-4D40-852E-3DA17F967249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11B38BB-8212-45F8-A774-648494388C07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903078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ángulo 1">
            <a:extLst>
              <a:ext uri="{FF2B5EF4-FFF2-40B4-BE49-F238E27FC236}">
                <a16:creationId xmlns:a16="http://schemas.microsoft.com/office/drawing/2014/main" id="{8CE5CAA1-12E8-4B39-97F5-D7AEED480B1E}"/>
              </a:ext>
            </a:extLst>
          </p:cNvPr>
          <p:cNvSpPr/>
          <p:nvPr userDrawn="1"/>
        </p:nvSpPr>
        <p:spPr>
          <a:xfrm rot="10800000">
            <a:off x="-8399" y="-1969"/>
            <a:ext cx="6114006" cy="6863178"/>
          </a:xfrm>
          <a:custGeom>
            <a:avLst/>
            <a:gdLst>
              <a:gd name="connsiteX0" fmla="*/ 0 w 3267919"/>
              <a:gd name="connsiteY0" fmla="*/ 0 h 6858000"/>
              <a:gd name="connsiteX1" fmla="*/ 3267919 w 3267919"/>
              <a:gd name="connsiteY1" fmla="*/ 0 h 6858000"/>
              <a:gd name="connsiteX2" fmla="*/ 3267919 w 3267919"/>
              <a:gd name="connsiteY2" fmla="*/ 6858000 h 6858000"/>
              <a:gd name="connsiteX3" fmla="*/ 0 w 3267919"/>
              <a:gd name="connsiteY3" fmla="*/ 6858000 h 6858000"/>
              <a:gd name="connsiteX4" fmla="*/ 0 w 3267919"/>
              <a:gd name="connsiteY4" fmla="*/ 0 h 6858000"/>
              <a:gd name="connsiteX0" fmla="*/ 2835797 w 6103716"/>
              <a:gd name="connsiteY0" fmla="*/ 0 h 6858000"/>
              <a:gd name="connsiteX1" fmla="*/ 6103716 w 6103716"/>
              <a:gd name="connsiteY1" fmla="*/ 0 h 6858000"/>
              <a:gd name="connsiteX2" fmla="*/ 6103716 w 6103716"/>
              <a:gd name="connsiteY2" fmla="*/ 6858000 h 6858000"/>
              <a:gd name="connsiteX3" fmla="*/ 0 w 6103716"/>
              <a:gd name="connsiteY3" fmla="*/ 6858000 h 6858000"/>
              <a:gd name="connsiteX4" fmla="*/ 2835797 w 6103716"/>
              <a:gd name="connsiteY4" fmla="*/ 0 h 6858000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6103716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7232248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6983416"/>
              <a:gd name="connsiteY0" fmla="*/ 0 h 6863788"/>
              <a:gd name="connsiteX1" fmla="*/ 5148805 w 6983416"/>
              <a:gd name="connsiteY1" fmla="*/ 0 h 6863788"/>
              <a:gd name="connsiteX2" fmla="*/ 6983392 w 6983416"/>
              <a:gd name="connsiteY2" fmla="*/ 6858000 h 6863788"/>
              <a:gd name="connsiteX3" fmla="*/ 0 w 6983416"/>
              <a:gd name="connsiteY3" fmla="*/ 6863788 h 6863788"/>
              <a:gd name="connsiteX4" fmla="*/ 2586941 w 6983416"/>
              <a:gd name="connsiteY4" fmla="*/ 0 h 6863788"/>
              <a:gd name="connsiteX0" fmla="*/ 2586941 w 6983421"/>
              <a:gd name="connsiteY0" fmla="*/ 0 h 6863788"/>
              <a:gd name="connsiteX1" fmla="*/ 5513407 w 6983421"/>
              <a:gd name="connsiteY1" fmla="*/ 0 h 6863788"/>
              <a:gd name="connsiteX2" fmla="*/ 6983392 w 6983421"/>
              <a:gd name="connsiteY2" fmla="*/ 6858000 h 6863788"/>
              <a:gd name="connsiteX3" fmla="*/ 0 w 6983421"/>
              <a:gd name="connsiteY3" fmla="*/ 6863788 h 6863788"/>
              <a:gd name="connsiteX4" fmla="*/ 2586941 w 6983421"/>
              <a:gd name="connsiteY4" fmla="*/ 0 h 6863788"/>
              <a:gd name="connsiteX0" fmla="*/ 2586941 w 5513407"/>
              <a:gd name="connsiteY0" fmla="*/ 0 h 6869575"/>
              <a:gd name="connsiteX1" fmla="*/ 5513407 w 5513407"/>
              <a:gd name="connsiteY1" fmla="*/ 0 h 6869575"/>
              <a:gd name="connsiteX2" fmla="*/ 5183529 w 5513407"/>
              <a:gd name="connsiteY2" fmla="*/ 6869575 h 6869575"/>
              <a:gd name="connsiteX3" fmla="*/ 0 w 5513407"/>
              <a:gd name="connsiteY3" fmla="*/ 6863788 h 6869575"/>
              <a:gd name="connsiteX4" fmla="*/ 2586941 w 5513407"/>
              <a:gd name="connsiteY4" fmla="*/ 0 h 6869575"/>
              <a:gd name="connsiteX0" fmla="*/ 2586941 w 5513407"/>
              <a:gd name="connsiteY0" fmla="*/ 0 h 6863788"/>
              <a:gd name="connsiteX1" fmla="*/ 5513407 w 5513407"/>
              <a:gd name="connsiteY1" fmla="*/ 0 h 6863788"/>
              <a:gd name="connsiteX2" fmla="*/ 5496045 w 5513407"/>
              <a:gd name="connsiteY2" fmla="*/ 6829064 h 6863788"/>
              <a:gd name="connsiteX3" fmla="*/ 0 w 5513407"/>
              <a:gd name="connsiteY3" fmla="*/ 6863788 h 6863788"/>
              <a:gd name="connsiteX4" fmla="*/ 2586941 w 5513407"/>
              <a:gd name="connsiteY4" fmla="*/ 0 h 6863788"/>
              <a:gd name="connsiteX0" fmla="*/ 2586941 w 5520913"/>
              <a:gd name="connsiteY0" fmla="*/ 0 h 6863788"/>
              <a:gd name="connsiteX1" fmla="*/ 5513407 w 5520913"/>
              <a:gd name="connsiteY1" fmla="*/ 0 h 6863788"/>
              <a:gd name="connsiteX2" fmla="*/ 5519195 w 5520913"/>
              <a:gd name="connsiteY2" fmla="*/ 6840638 h 6863788"/>
              <a:gd name="connsiteX3" fmla="*/ 0 w 5520913"/>
              <a:gd name="connsiteY3" fmla="*/ 6863788 h 6863788"/>
              <a:gd name="connsiteX4" fmla="*/ 2586941 w 5520913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52723 w 5509031"/>
              <a:gd name="connsiteY0" fmla="*/ 0 h 6852213"/>
              <a:gd name="connsiteX1" fmla="*/ 5479189 w 5509031"/>
              <a:gd name="connsiteY1" fmla="*/ 0 h 6852213"/>
              <a:gd name="connsiteX2" fmla="*/ 5508126 w 5509031"/>
              <a:gd name="connsiteY2" fmla="*/ 6852213 h 6852213"/>
              <a:gd name="connsiteX3" fmla="*/ 0 w 5509031"/>
              <a:gd name="connsiteY3" fmla="*/ 6789649 h 6852213"/>
              <a:gd name="connsiteX4" fmla="*/ 2552723 w 5509031"/>
              <a:gd name="connsiteY4" fmla="*/ 0 h 6852213"/>
              <a:gd name="connsiteX0" fmla="*/ 2552723 w 5494413"/>
              <a:gd name="connsiteY0" fmla="*/ 0 h 6789649"/>
              <a:gd name="connsiteX1" fmla="*/ 5479189 w 5494413"/>
              <a:gd name="connsiteY1" fmla="*/ 0 h 6789649"/>
              <a:gd name="connsiteX2" fmla="*/ 5493109 w 5494413"/>
              <a:gd name="connsiteY2" fmla="*/ 6606924 h 6789649"/>
              <a:gd name="connsiteX3" fmla="*/ 0 w 5494413"/>
              <a:gd name="connsiteY3" fmla="*/ 6789649 h 6789649"/>
              <a:gd name="connsiteX4" fmla="*/ 2552723 w 5494413"/>
              <a:gd name="connsiteY4" fmla="*/ 0 h 6789649"/>
              <a:gd name="connsiteX0" fmla="*/ 2552723 w 5479189"/>
              <a:gd name="connsiteY0" fmla="*/ 0 h 6789649"/>
              <a:gd name="connsiteX1" fmla="*/ 5479189 w 5479189"/>
              <a:gd name="connsiteY1" fmla="*/ 0 h 6789649"/>
              <a:gd name="connsiteX2" fmla="*/ 5433038 w 5479189"/>
              <a:gd name="connsiteY2" fmla="*/ 6757102 h 6789649"/>
              <a:gd name="connsiteX3" fmla="*/ 0 w 5479189"/>
              <a:gd name="connsiteY3" fmla="*/ 6789649 h 6789649"/>
              <a:gd name="connsiteX4" fmla="*/ 2552723 w 5479189"/>
              <a:gd name="connsiteY4" fmla="*/ 0 h 6789649"/>
              <a:gd name="connsiteX0" fmla="*/ 3088411 w 6014877"/>
              <a:gd name="connsiteY0" fmla="*/ 0 h 6757102"/>
              <a:gd name="connsiteX1" fmla="*/ 6014877 w 6014877"/>
              <a:gd name="connsiteY1" fmla="*/ 0 h 6757102"/>
              <a:gd name="connsiteX2" fmla="*/ 5968726 w 6014877"/>
              <a:gd name="connsiteY2" fmla="*/ 6757102 h 6757102"/>
              <a:gd name="connsiteX3" fmla="*/ 0 w 6014877"/>
              <a:gd name="connsiteY3" fmla="*/ 6737568 h 6757102"/>
              <a:gd name="connsiteX4" fmla="*/ 3088411 w 6014877"/>
              <a:gd name="connsiteY4" fmla="*/ 0 h 6757102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46405 w 6014877"/>
              <a:gd name="connsiteY2" fmla="*/ 6593419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38965 w 6014877"/>
              <a:gd name="connsiteY2" fmla="*/ 6727341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46405 w 6014877"/>
              <a:gd name="connsiteY2" fmla="*/ 6712461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35104 w 6014877"/>
              <a:gd name="connsiteY2" fmla="*/ 6729413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52057 w 6014877"/>
              <a:gd name="connsiteY2" fmla="*/ 6729413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2534640 w 6014877"/>
              <a:gd name="connsiteY0" fmla="*/ 11302 h 6737568"/>
              <a:gd name="connsiteX1" fmla="*/ 6014877 w 6014877"/>
              <a:gd name="connsiteY1" fmla="*/ 0 h 6737568"/>
              <a:gd name="connsiteX2" fmla="*/ 5952057 w 6014877"/>
              <a:gd name="connsiteY2" fmla="*/ 6729413 h 6737568"/>
              <a:gd name="connsiteX3" fmla="*/ 0 w 6014877"/>
              <a:gd name="connsiteY3" fmla="*/ 6737568 h 6737568"/>
              <a:gd name="connsiteX4" fmla="*/ 2534640 w 6014877"/>
              <a:gd name="connsiteY4" fmla="*/ 11302 h 6737568"/>
              <a:gd name="connsiteX0" fmla="*/ 2534640 w 5954363"/>
              <a:gd name="connsiteY0" fmla="*/ 0 h 6726266"/>
              <a:gd name="connsiteX1" fmla="*/ 5952719 w 5954363"/>
              <a:gd name="connsiteY1" fmla="*/ 11301 h 6726266"/>
              <a:gd name="connsiteX2" fmla="*/ 5952057 w 5954363"/>
              <a:gd name="connsiteY2" fmla="*/ 6718111 h 6726266"/>
              <a:gd name="connsiteX3" fmla="*/ 0 w 5954363"/>
              <a:gd name="connsiteY3" fmla="*/ 6726266 h 6726266"/>
              <a:gd name="connsiteX4" fmla="*/ 2534640 w 5954363"/>
              <a:gd name="connsiteY4" fmla="*/ 0 h 6726266"/>
              <a:gd name="connsiteX0" fmla="*/ 2534640 w 5952207"/>
              <a:gd name="connsiteY0" fmla="*/ 0 h 6726266"/>
              <a:gd name="connsiteX1" fmla="*/ 5675834 w 5952207"/>
              <a:gd name="connsiteY1" fmla="*/ 118664 h 6726266"/>
              <a:gd name="connsiteX2" fmla="*/ 5952057 w 5952207"/>
              <a:gd name="connsiteY2" fmla="*/ 6718111 h 6726266"/>
              <a:gd name="connsiteX3" fmla="*/ 0 w 5952207"/>
              <a:gd name="connsiteY3" fmla="*/ 6726266 h 6726266"/>
              <a:gd name="connsiteX4" fmla="*/ 2534640 w 5952207"/>
              <a:gd name="connsiteY4" fmla="*/ 0 h 6726266"/>
              <a:gd name="connsiteX0" fmla="*/ 2534640 w 5958370"/>
              <a:gd name="connsiteY0" fmla="*/ 0 h 6726266"/>
              <a:gd name="connsiteX1" fmla="*/ 5958370 w 5958370"/>
              <a:gd name="connsiteY1" fmla="*/ 28253 h 6726266"/>
              <a:gd name="connsiteX2" fmla="*/ 5952057 w 5958370"/>
              <a:gd name="connsiteY2" fmla="*/ 6718111 h 6726266"/>
              <a:gd name="connsiteX3" fmla="*/ 0 w 5958370"/>
              <a:gd name="connsiteY3" fmla="*/ 6726266 h 6726266"/>
              <a:gd name="connsiteX4" fmla="*/ 2534640 w 5958370"/>
              <a:gd name="connsiteY4" fmla="*/ 0 h 6726266"/>
              <a:gd name="connsiteX0" fmla="*/ 2574194 w 5958370"/>
              <a:gd name="connsiteY0" fmla="*/ 50857 h 6698013"/>
              <a:gd name="connsiteX1" fmla="*/ 5958370 w 5958370"/>
              <a:gd name="connsiteY1" fmla="*/ 0 h 6698013"/>
              <a:gd name="connsiteX2" fmla="*/ 5952057 w 5958370"/>
              <a:gd name="connsiteY2" fmla="*/ 6689858 h 6698013"/>
              <a:gd name="connsiteX3" fmla="*/ 0 w 5958370"/>
              <a:gd name="connsiteY3" fmla="*/ 6698013 h 6698013"/>
              <a:gd name="connsiteX4" fmla="*/ 2574194 w 5958370"/>
              <a:gd name="connsiteY4" fmla="*/ 50857 h 6698013"/>
              <a:gd name="connsiteX0" fmla="*/ 2534640 w 5958370"/>
              <a:gd name="connsiteY0" fmla="*/ 0 h 6709314"/>
              <a:gd name="connsiteX1" fmla="*/ 5958370 w 5958370"/>
              <a:gd name="connsiteY1" fmla="*/ 11301 h 6709314"/>
              <a:gd name="connsiteX2" fmla="*/ 5952057 w 5958370"/>
              <a:gd name="connsiteY2" fmla="*/ 6701159 h 6709314"/>
              <a:gd name="connsiteX3" fmla="*/ 0 w 5958370"/>
              <a:gd name="connsiteY3" fmla="*/ 6709314 h 6709314"/>
              <a:gd name="connsiteX4" fmla="*/ 2534640 w 5958370"/>
              <a:gd name="connsiteY4" fmla="*/ 0 h 6709314"/>
              <a:gd name="connsiteX0" fmla="*/ 2545942 w 5969672"/>
              <a:gd name="connsiteY0" fmla="*/ 0 h 6701159"/>
              <a:gd name="connsiteX1" fmla="*/ 5969672 w 5969672"/>
              <a:gd name="connsiteY1" fmla="*/ 11301 h 6701159"/>
              <a:gd name="connsiteX2" fmla="*/ 5963359 w 5969672"/>
              <a:gd name="connsiteY2" fmla="*/ 6701159 h 6701159"/>
              <a:gd name="connsiteX3" fmla="*/ 0 w 5969672"/>
              <a:gd name="connsiteY3" fmla="*/ 6698012 h 6701159"/>
              <a:gd name="connsiteX4" fmla="*/ 2545942 w 5969672"/>
              <a:gd name="connsiteY4" fmla="*/ 0 h 6701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69672" h="6701159">
                <a:moveTo>
                  <a:pt x="2545942" y="0"/>
                </a:moveTo>
                <a:lnTo>
                  <a:pt x="5969672" y="11301"/>
                </a:lnTo>
                <a:cubicBezTo>
                  <a:pt x="5961956" y="2299230"/>
                  <a:pt x="5971075" y="4413230"/>
                  <a:pt x="5963359" y="6701159"/>
                </a:cubicBezTo>
                <a:lnTo>
                  <a:pt x="0" y="6698012"/>
                </a:lnTo>
                <a:lnTo>
                  <a:pt x="2545942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409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EBCB333-58BB-B544-BBAA-8ED40584E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1444" y="1396800"/>
            <a:ext cx="5722517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8D5A004-570A-094C-B900-71EF2C9421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1444" y="1808139"/>
            <a:ext cx="5723862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6523" y="1396800"/>
            <a:ext cx="3352990" cy="29494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928" y="252000"/>
            <a:ext cx="3350350" cy="9054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D6D2B9E-3868-4EC8-B3F9-AFDB67FAB4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1238" y="2121777"/>
            <a:ext cx="573405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Marcador de texto 5">
            <a:extLst>
              <a:ext uri="{FF2B5EF4-FFF2-40B4-BE49-F238E27FC236}">
                <a16:creationId xmlns:a16="http://schemas.microsoft.com/office/drawing/2014/main" id="{4E73268A-D8AC-4A88-8197-ADDA434368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206" y="2660364"/>
            <a:ext cx="5722517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26650491-2940-408D-AA73-AEEDDD1C0C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206" y="3071703"/>
            <a:ext cx="5723862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3A99E160-9CB7-46F7-BFA5-4D8D9B20F9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0" y="3385341"/>
            <a:ext cx="573405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Marcador de texto 5">
            <a:extLst>
              <a:ext uri="{FF2B5EF4-FFF2-40B4-BE49-F238E27FC236}">
                <a16:creationId xmlns:a16="http://schemas.microsoft.com/office/drawing/2014/main" id="{42EE6536-0BB8-4A6D-9D22-EA3B9FA16FB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6412" y="3910288"/>
            <a:ext cx="5722517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30" name="Marcador de texto 3">
            <a:extLst>
              <a:ext uri="{FF2B5EF4-FFF2-40B4-BE49-F238E27FC236}">
                <a16:creationId xmlns:a16="http://schemas.microsoft.com/office/drawing/2014/main" id="{E53787EC-9BC5-4F7F-9E55-20D2FEB065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412" y="4321627"/>
            <a:ext cx="5723862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AF5E5ABC-8A90-431B-8681-F770DC35B27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206" y="4635265"/>
            <a:ext cx="573405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Marcador de texto 5">
            <a:extLst>
              <a:ext uri="{FF2B5EF4-FFF2-40B4-BE49-F238E27FC236}">
                <a16:creationId xmlns:a16="http://schemas.microsoft.com/office/drawing/2014/main" id="{D1EAAC23-31AB-400D-B902-A13EC10EAFD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618" y="5159695"/>
            <a:ext cx="5722517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33" name="Marcador de texto 3">
            <a:extLst>
              <a:ext uri="{FF2B5EF4-FFF2-40B4-BE49-F238E27FC236}">
                <a16:creationId xmlns:a16="http://schemas.microsoft.com/office/drawing/2014/main" id="{A9BE9442-5EA2-4FE1-814F-10C81CE0E2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618" y="5571034"/>
            <a:ext cx="5723862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4DD1878A-DCCC-4F22-8B0F-E794A9D0F7E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96412" y="5884672"/>
            <a:ext cx="573405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D7028F5-41F1-4874-83FE-6BD5DAAC8B19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25A0D7D-F7EA-4C34-8C60-991037B35E97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4787A46-69D5-4929-8614-456C5C0DD1BA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2D32501-CA50-46B1-982E-760E641272A0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49038232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ángulo 1">
            <a:extLst>
              <a:ext uri="{FF2B5EF4-FFF2-40B4-BE49-F238E27FC236}">
                <a16:creationId xmlns:a16="http://schemas.microsoft.com/office/drawing/2014/main" id="{34B86330-9A35-45F6-9C81-EEF37DAF6803}"/>
              </a:ext>
            </a:extLst>
          </p:cNvPr>
          <p:cNvSpPr/>
          <p:nvPr userDrawn="1"/>
        </p:nvSpPr>
        <p:spPr>
          <a:xfrm rot="10800000">
            <a:off x="-8399" y="-1969"/>
            <a:ext cx="6114006" cy="6863178"/>
          </a:xfrm>
          <a:custGeom>
            <a:avLst/>
            <a:gdLst>
              <a:gd name="connsiteX0" fmla="*/ 0 w 3267919"/>
              <a:gd name="connsiteY0" fmla="*/ 0 h 6858000"/>
              <a:gd name="connsiteX1" fmla="*/ 3267919 w 3267919"/>
              <a:gd name="connsiteY1" fmla="*/ 0 h 6858000"/>
              <a:gd name="connsiteX2" fmla="*/ 3267919 w 3267919"/>
              <a:gd name="connsiteY2" fmla="*/ 6858000 h 6858000"/>
              <a:gd name="connsiteX3" fmla="*/ 0 w 3267919"/>
              <a:gd name="connsiteY3" fmla="*/ 6858000 h 6858000"/>
              <a:gd name="connsiteX4" fmla="*/ 0 w 3267919"/>
              <a:gd name="connsiteY4" fmla="*/ 0 h 6858000"/>
              <a:gd name="connsiteX0" fmla="*/ 2835797 w 6103716"/>
              <a:gd name="connsiteY0" fmla="*/ 0 h 6858000"/>
              <a:gd name="connsiteX1" fmla="*/ 6103716 w 6103716"/>
              <a:gd name="connsiteY1" fmla="*/ 0 h 6858000"/>
              <a:gd name="connsiteX2" fmla="*/ 6103716 w 6103716"/>
              <a:gd name="connsiteY2" fmla="*/ 6858000 h 6858000"/>
              <a:gd name="connsiteX3" fmla="*/ 0 w 6103716"/>
              <a:gd name="connsiteY3" fmla="*/ 6858000 h 6858000"/>
              <a:gd name="connsiteX4" fmla="*/ 2835797 w 6103716"/>
              <a:gd name="connsiteY4" fmla="*/ 0 h 6858000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6103716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7232248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6983416"/>
              <a:gd name="connsiteY0" fmla="*/ 0 h 6863788"/>
              <a:gd name="connsiteX1" fmla="*/ 5148805 w 6983416"/>
              <a:gd name="connsiteY1" fmla="*/ 0 h 6863788"/>
              <a:gd name="connsiteX2" fmla="*/ 6983392 w 6983416"/>
              <a:gd name="connsiteY2" fmla="*/ 6858000 h 6863788"/>
              <a:gd name="connsiteX3" fmla="*/ 0 w 6983416"/>
              <a:gd name="connsiteY3" fmla="*/ 6863788 h 6863788"/>
              <a:gd name="connsiteX4" fmla="*/ 2586941 w 6983416"/>
              <a:gd name="connsiteY4" fmla="*/ 0 h 6863788"/>
              <a:gd name="connsiteX0" fmla="*/ 2586941 w 6983421"/>
              <a:gd name="connsiteY0" fmla="*/ 0 h 6863788"/>
              <a:gd name="connsiteX1" fmla="*/ 5513407 w 6983421"/>
              <a:gd name="connsiteY1" fmla="*/ 0 h 6863788"/>
              <a:gd name="connsiteX2" fmla="*/ 6983392 w 6983421"/>
              <a:gd name="connsiteY2" fmla="*/ 6858000 h 6863788"/>
              <a:gd name="connsiteX3" fmla="*/ 0 w 6983421"/>
              <a:gd name="connsiteY3" fmla="*/ 6863788 h 6863788"/>
              <a:gd name="connsiteX4" fmla="*/ 2586941 w 6983421"/>
              <a:gd name="connsiteY4" fmla="*/ 0 h 6863788"/>
              <a:gd name="connsiteX0" fmla="*/ 2586941 w 5513407"/>
              <a:gd name="connsiteY0" fmla="*/ 0 h 6869575"/>
              <a:gd name="connsiteX1" fmla="*/ 5513407 w 5513407"/>
              <a:gd name="connsiteY1" fmla="*/ 0 h 6869575"/>
              <a:gd name="connsiteX2" fmla="*/ 5183529 w 5513407"/>
              <a:gd name="connsiteY2" fmla="*/ 6869575 h 6869575"/>
              <a:gd name="connsiteX3" fmla="*/ 0 w 5513407"/>
              <a:gd name="connsiteY3" fmla="*/ 6863788 h 6869575"/>
              <a:gd name="connsiteX4" fmla="*/ 2586941 w 5513407"/>
              <a:gd name="connsiteY4" fmla="*/ 0 h 6869575"/>
              <a:gd name="connsiteX0" fmla="*/ 2586941 w 5513407"/>
              <a:gd name="connsiteY0" fmla="*/ 0 h 6863788"/>
              <a:gd name="connsiteX1" fmla="*/ 5513407 w 5513407"/>
              <a:gd name="connsiteY1" fmla="*/ 0 h 6863788"/>
              <a:gd name="connsiteX2" fmla="*/ 5496045 w 5513407"/>
              <a:gd name="connsiteY2" fmla="*/ 6829064 h 6863788"/>
              <a:gd name="connsiteX3" fmla="*/ 0 w 5513407"/>
              <a:gd name="connsiteY3" fmla="*/ 6863788 h 6863788"/>
              <a:gd name="connsiteX4" fmla="*/ 2586941 w 5513407"/>
              <a:gd name="connsiteY4" fmla="*/ 0 h 6863788"/>
              <a:gd name="connsiteX0" fmla="*/ 2586941 w 5520913"/>
              <a:gd name="connsiteY0" fmla="*/ 0 h 6863788"/>
              <a:gd name="connsiteX1" fmla="*/ 5513407 w 5520913"/>
              <a:gd name="connsiteY1" fmla="*/ 0 h 6863788"/>
              <a:gd name="connsiteX2" fmla="*/ 5519195 w 5520913"/>
              <a:gd name="connsiteY2" fmla="*/ 6840638 h 6863788"/>
              <a:gd name="connsiteX3" fmla="*/ 0 w 5520913"/>
              <a:gd name="connsiteY3" fmla="*/ 6863788 h 6863788"/>
              <a:gd name="connsiteX4" fmla="*/ 2586941 w 5520913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52723 w 5509031"/>
              <a:gd name="connsiteY0" fmla="*/ 0 h 6852213"/>
              <a:gd name="connsiteX1" fmla="*/ 5479189 w 5509031"/>
              <a:gd name="connsiteY1" fmla="*/ 0 h 6852213"/>
              <a:gd name="connsiteX2" fmla="*/ 5508126 w 5509031"/>
              <a:gd name="connsiteY2" fmla="*/ 6852213 h 6852213"/>
              <a:gd name="connsiteX3" fmla="*/ 0 w 5509031"/>
              <a:gd name="connsiteY3" fmla="*/ 6789649 h 6852213"/>
              <a:gd name="connsiteX4" fmla="*/ 2552723 w 5509031"/>
              <a:gd name="connsiteY4" fmla="*/ 0 h 6852213"/>
              <a:gd name="connsiteX0" fmla="*/ 2552723 w 5494413"/>
              <a:gd name="connsiteY0" fmla="*/ 0 h 6789649"/>
              <a:gd name="connsiteX1" fmla="*/ 5479189 w 5494413"/>
              <a:gd name="connsiteY1" fmla="*/ 0 h 6789649"/>
              <a:gd name="connsiteX2" fmla="*/ 5493109 w 5494413"/>
              <a:gd name="connsiteY2" fmla="*/ 6606924 h 6789649"/>
              <a:gd name="connsiteX3" fmla="*/ 0 w 5494413"/>
              <a:gd name="connsiteY3" fmla="*/ 6789649 h 6789649"/>
              <a:gd name="connsiteX4" fmla="*/ 2552723 w 5494413"/>
              <a:gd name="connsiteY4" fmla="*/ 0 h 6789649"/>
              <a:gd name="connsiteX0" fmla="*/ 2552723 w 5479189"/>
              <a:gd name="connsiteY0" fmla="*/ 0 h 6789649"/>
              <a:gd name="connsiteX1" fmla="*/ 5479189 w 5479189"/>
              <a:gd name="connsiteY1" fmla="*/ 0 h 6789649"/>
              <a:gd name="connsiteX2" fmla="*/ 5433038 w 5479189"/>
              <a:gd name="connsiteY2" fmla="*/ 6757102 h 6789649"/>
              <a:gd name="connsiteX3" fmla="*/ 0 w 5479189"/>
              <a:gd name="connsiteY3" fmla="*/ 6789649 h 6789649"/>
              <a:gd name="connsiteX4" fmla="*/ 2552723 w 5479189"/>
              <a:gd name="connsiteY4" fmla="*/ 0 h 6789649"/>
              <a:gd name="connsiteX0" fmla="*/ 3088411 w 6014877"/>
              <a:gd name="connsiteY0" fmla="*/ 0 h 6757102"/>
              <a:gd name="connsiteX1" fmla="*/ 6014877 w 6014877"/>
              <a:gd name="connsiteY1" fmla="*/ 0 h 6757102"/>
              <a:gd name="connsiteX2" fmla="*/ 5968726 w 6014877"/>
              <a:gd name="connsiteY2" fmla="*/ 6757102 h 6757102"/>
              <a:gd name="connsiteX3" fmla="*/ 0 w 6014877"/>
              <a:gd name="connsiteY3" fmla="*/ 6737568 h 6757102"/>
              <a:gd name="connsiteX4" fmla="*/ 3088411 w 6014877"/>
              <a:gd name="connsiteY4" fmla="*/ 0 h 6757102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46405 w 6014877"/>
              <a:gd name="connsiteY2" fmla="*/ 6593419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38965 w 6014877"/>
              <a:gd name="connsiteY2" fmla="*/ 6727341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46405 w 6014877"/>
              <a:gd name="connsiteY2" fmla="*/ 6712461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35104 w 6014877"/>
              <a:gd name="connsiteY2" fmla="*/ 6729413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52057 w 6014877"/>
              <a:gd name="connsiteY2" fmla="*/ 6729413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2534640 w 6014877"/>
              <a:gd name="connsiteY0" fmla="*/ 11302 h 6737568"/>
              <a:gd name="connsiteX1" fmla="*/ 6014877 w 6014877"/>
              <a:gd name="connsiteY1" fmla="*/ 0 h 6737568"/>
              <a:gd name="connsiteX2" fmla="*/ 5952057 w 6014877"/>
              <a:gd name="connsiteY2" fmla="*/ 6729413 h 6737568"/>
              <a:gd name="connsiteX3" fmla="*/ 0 w 6014877"/>
              <a:gd name="connsiteY3" fmla="*/ 6737568 h 6737568"/>
              <a:gd name="connsiteX4" fmla="*/ 2534640 w 6014877"/>
              <a:gd name="connsiteY4" fmla="*/ 11302 h 6737568"/>
              <a:gd name="connsiteX0" fmla="*/ 2534640 w 5954363"/>
              <a:gd name="connsiteY0" fmla="*/ 0 h 6726266"/>
              <a:gd name="connsiteX1" fmla="*/ 5952719 w 5954363"/>
              <a:gd name="connsiteY1" fmla="*/ 11301 h 6726266"/>
              <a:gd name="connsiteX2" fmla="*/ 5952057 w 5954363"/>
              <a:gd name="connsiteY2" fmla="*/ 6718111 h 6726266"/>
              <a:gd name="connsiteX3" fmla="*/ 0 w 5954363"/>
              <a:gd name="connsiteY3" fmla="*/ 6726266 h 6726266"/>
              <a:gd name="connsiteX4" fmla="*/ 2534640 w 5954363"/>
              <a:gd name="connsiteY4" fmla="*/ 0 h 6726266"/>
              <a:gd name="connsiteX0" fmla="*/ 2534640 w 5952207"/>
              <a:gd name="connsiteY0" fmla="*/ 0 h 6726266"/>
              <a:gd name="connsiteX1" fmla="*/ 5675834 w 5952207"/>
              <a:gd name="connsiteY1" fmla="*/ 118664 h 6726266"/>
              <a:gd name="connsiteX2" fmla="*/ 5952057 w 5952207"/>
              <a:gd name="connsiteY2" fmla="*/ 6718111 h 6726266"/>
              <a:gd name="connsiteX3" fmla="*/ 0 w 5952207"/>
              <a:gd name="connsiteY3" fmla="*/ 6726266 h 6726266"/>
              <a:gd name="connsiteX4" fmla="*/ 2534640 w 5952207"/>
              <a:gd name="connsiteY4" fmla="*/ 0 h 6726266"/>
              <a:gd name="connsiteX0" fmla="*/ 2534640 w 5958370"/>
              <a:gd name="connsiteY0" fmla="*/ 0 h 6726266"/>
              <a:gd name="connsiteX1" fmla="*/ 5958370 w 5958370"/>
              <a:gd name="connsiteY1" fmla="*/ 28253 h 6726266"/>
              <a:gd name="connsiteX2" fmla="*/ 5952057 w 5958370"/>
              <a:gd name="connsiteY2" fmla="*/ 6718111 h 6726266"/>
              <a:gd name="connsiteX3" fmla="*/ 0 w 5958370"/>
              <a:gd name="connsiteY3" fmla="*/ 6726266 h 6726266"/>
              <a:gd name="connsiteX4" fmla="*/ 2534640 w 5958370"/>
              <a:gd name="connsiteY4" fmla="*/ 0 h 6726266"/>
              <a:gd name="connsiteX0" fmla="*/ 2574194 w 5958370"/>
              <a:gd name="connsiteY0" fmla="*/ 50857 h 6698013"/>
              <a:gd name="connsiteX1" fmla="*/ 5958370 w 5958370"/>
              <a:gd name="connsiteY1" fmla="*/ 0 h 6698013"/>
              <a:gd name="connsiteX2" fmla="*/ 5952057 w 5958370"/>
              <a:gd name="connsiteY2" fmla="*/ 6689858 h 6698013"/>
              <a:gd name="connsiteX3" fmla="*/ 0 w 5958370"/>
              <a:gd name="connsiteY3" fmla="*/ 6698013 h 6698013"/>
              <a:gd name="connsiteX4" fmla="*/ 2574194 w 5958370"/>
              <a:gd name="connsiteY4" fmla="*/ 50857 h 6698013"/>
              <a:gd name="connsiteX0" fmla="*/ 2534640 w 5958370"/>
              <a:gd name="connsiteY0" fmla="*/ 0 h 6709314"/>
              <a:gd name="connsiteX1" fmla="*/ 5958370 w 5958370"/>
              <a:gd name="connsiteY1" fmla="*/ 11301 h 6709314"/>
              <a:gd name="connsiteX2" fmla="*/ 5952057 w 5958370"/>
              <a:gd name="connsiteY2" fmla="*/ 6701159 h 6709314"/>
              <a:gd name="connsiteX3" fmla="*/ 0 w 5958370"/>
              <a:gd name="connsiteY3" fmla="*/ 6709314 h 6709314"/>
              <a:gd name="connsiteX4" fmla="*/ 2534640 w 5958370"/>
              <a:gd name="connsiteY4" fmla="*/ 0 h 6709314"/>
              <a:gd name="connsiteX0" fmla="*/ 2545942 w 5969672"/>
              <a:gd name="connsiteY0" fmla="*/ 0 h 6701159"/>
              <a:gd name="connsiteX1" fmla="*/ 5969672 w 5969672"/>
              <a:gd name="connsiteY1" fmla="*/ 11301 h 6701159"/>
              <a:gd name="connsiteX2" fmla="*/ 5963359 w 5969672"/>
              <a:gd name="connsiteY2" fmla="*/ 6701159 h 6701159"/>
              <a:gd name="connsiteX3" fmla="*/ 0 w 5969672"/>
              <a:gd name="connsiteY3" fmla="*/ 6698012 h 6701159"/>
              <a:gd name="connsiteX4" fmla="*/ 2545942 w 5969672"/>
              <a:gd name="connsiteY4" fmla="*/ 0 h 6701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69672" h="6701159">
                <a:moveTo>
                  <a:pt x="2545942" y="0"/>
                </a:moveTo>
                <a:lnTo>
                  <a:pt x="5969672" y="11301"/>
                </a:lnTo>
                <a:cubicBezTo>
                  <a:pt x="5961956" y="2299230"/>
                  <a:pt x="5971075" y="4413230"/>
                  <a:pt x="5963359" y="6701159"/>
                </a:cubicBezTo>
                <a:lnTo>
                  <a:pt x="0" y="6698012"/>
                </a:lnTo>
                <a:lnTo>
                  <a:pt x="2545942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447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EBCB333-58BB-B544-BBAA-8ED40584E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69781" y="1396800"/>
            <a:ext cx="2744180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8D5A004-570A-094C-B900-71EF2C9421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070480" y="1808139"/>
            <a:ext cx="2744825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6523" y="1396800"/>
            <a:ext cx="3352990" cy="33140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927" y="252000"/>
            <a:ext cx="4034798" cy="9054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D6D2B9E-3868-4EC8-B3F9-AFDB67FAB4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75577" y="2121777"/>
            <a:ext cx="274971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Marcador de texto 5">
            <a:extLst>
              <a:ext uri="{FF2B5EF4-FFF2-40B4-BE49-F238E27FC236}">
                <a16:creationId xmlns:a16="http://schemas.microsoft.com/office/drawing/2014/main" id="{4E73268A-D8AC-4A88-8197-ADDA434368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74543" y="2660364"/>
            <a:ext cx="2744180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26650491-2940-408D-AA73-AEEDDD1C0C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5242" y="3071703"/>
            <a:ext cx="2744825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3A99E160-9CB7-46F7-BFA5-4D8D9B20F9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80339" y="3385341"/>
            <a:ext cx="274971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Marcador de texto 5">
            <a:extLst>
              <a:ext uri="{FF2B5EF4-FFF2-40B4-BE49-F238E27FC236}">
                <a16:creationId xmlns:a16="http://schemas.microsoft.com/office/drawing/2014/main" id="{42EE6536-0BB8-4A6D-9D22-EA3B9FA16FB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74749" y="3910288"/>
            <a:ext cx="2744180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30" name="Marcador de texto 3">
            <a:extLst>
              <a:ext uri="{FF2B5EF4-FFF2-40B4-BE49-F238E27FC236}">
                <a16:creationId xmlns:a16="http://schemas.microsoft.com/office/drawing/2014/main" id="{E53787EC-9BC5-4F7F-9E55-20D2FEB065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75448" y="4321627"/>
            <a:ext cx="2744825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AF5E5ABC-8A90-431B-8681-F770DC35B27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80545" y="4635265"/>
            <a:ext cx="274971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Marcador de texto 5">
            <a:extLst>
              <a:ext uri="{FF2B5EF4-FFF2-40B4-BE49-F238E27FC236}">
                <a16:creationId xmlns:a16="http://schemas.microsoft.com/office/drawing/2014/main" id="{D1EAAC23-31AB-400D-B902-A13EC10EAFD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74955" y="5159695"/>
            <a:ext cx="2744180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33" name="Marcador de texto 3">
            <a:extLst>
              <a:ext uri="{FF2B5EF4-FFF2-40B4-BE49-F238E27FC236}">
                <a16:creationId xmlns:a16="http://schemas.microsoft.com/office/drawing/2014/main" id="{A9BE9442-5EA2-4FE1-814F-10C81CE0E2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75654" y="5571034"/>
            <a:ext cx="2744825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4DD1878A-DCCC-4F22-8B0F-E794A9D0F7E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080751" y="5884672"/>
            <a:ext cx="274971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Marcador de texto 5">
            <a:extLst>
              <a:ext uri="{FF2B5EF4-FFF2-40B4-BE49-F238E27FC236}">
                <a16:creationId xmlns:a16="http://schemas.microsoft.com/office/drawing/2014/main" id="{75583949-C529-4C09-B042-7C3C5F9C9ED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05607" y="1403562"/>
            <a:ext cx="2744180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49" name="Marcador de texto 3">
            <a:extLst>
              <a:ext uri="{FF2B5EF4-FFF2-40B4-BE49-F238E27FC236}">
                <a16:creationId xmlns:a16="http://schemas.microsoft.com/office/drawing/2014/main" id="{63B4B398-881C-4857-8877-82CB89E09DC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00519" y="1814901"/>
            <a:ext cx="2744825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98DE17F0-A69A-4172-95E4-B494F2D3A6D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5616" y="2128539"/>
            <a:ext cx="274971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Marcador de texto 5">
            <a:extLst>
              <a:ext uri="{FF2B5EF4-FFF2-40B4-BE49-F238E27FC236}">
                <a16:creationId xmlns:a16="http://schemas.microsoft.com/office/drawing/2014/main" id="{914D8FBF-3A87-468E-A40B-AA99D1D5808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04582" y="2667126"/>
            <a:ext cx="2744180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52" name="Marcador de texto 3">
            <a:extLst>
              <a:ext uri="{FF2B5EF4-FFF2-40B4-BE49-F238E27FC236}">
                <a16:creationId xmlns:a16="http://schemas.microsoft.com/office/drawing/2014/main" id="{BD5D359A-AE2C-48D0-B082-CFA49458260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9494" y="3078465"/>
            <a:ext cx="2744825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CE1082A1-F559-4E25-ADC5-E6999B47F96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04591" y="3392103"/>
            <a:ext cx="274971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Marcador de texto 5">
            <a:extLst>
              <a:ext uri="{FF2B5EF4-FFF2-40B4-BE49-F238E27FC236}">
                <a16:creationId xmlns:a16="http://schemas.microsoft.com/office/drawing/2014/main" id="{72448981-D561-47B3-A524-E6DC7ADEDD2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04788" y="3917050"/>
            <a:ext cx="2744180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55" name="Marcador de texto 3">
            <a:extLst>
              <a:ext uri="{FF2B5EF4-FFF2-40B4-BE49-F238E27FC236}">
                <a16:creationId xmlns:a16="http://schemas.microsoft.com/office/drawing/2014/main" id="{773C2F13-312E-4121-B74D-61A3E51D73C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05487" y="4328389"/>
            <a:ext cx="2744825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331A76C6-929B-4A03-880B-274526D3ADA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104797" y="4642027"/>
            <a:ext cx="274971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Marcador de texto 5">
            <a:extLst>
              <a:ext uri="{FF2B5EF4-FFF2-40B4-BE49-F238E27FC236}">
                <a16:creationId xmlns:a16="http://schemas.microsoft.com/office/drawing/2014/main" id="{7553EF5A-9391-42F5-8ED9-95A7DE3A354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104994" y="5166457"/>
            <a:ext cx="2744180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58" name="Marcador de texto 3">
            <a:extLst>
              <a:ext uri="{FF2B5EF4-FFF2-40B4-BE49-F238E27FC236}">
                <a16:creationId xmlns:a16="http://schemas.microsoft.com/office/drawing/2014/main" id="{7AE3F577-227A-4C20-BF45-BEF6A92A838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099906" y="5577796"/>
            <a:ext cx="2744825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EDCE2999-CF2A-4AEB-87B8-A725EAC6D702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105003" y="5891434"/>
            <a:ext cx="274971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6FF3C82-A032-4626-A55F-54B6BA7A59E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2D10A43-0C1B-4180-A178-FD576C2DA0BA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1A702BE-3B17-4B3F-8E48-4FDCB1B3376B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EDA31E3-283B-4E5D-89EA-3DC2C0FFD32D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28779126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 lin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E587BE-F6AF-499A-812B-F6A5E822BF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733E61F-A2E3-419A-8F67-857EA928B66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777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A45737E-0F71-4DBA-B4EC-BAFD0D60BEF4}"/>
              </a:ext>
            </a:extLst>
          </p:cNvPr>
          <p:cNvCxnSpPr>
            <a:cxnSpLocks/>
          </p:cNvCxnSpPr>
          <p:nvPr userDrawn="1"/>
        </p:nvCxnSpPr>
        <p:spPr>
          <a:xfrm flipV="1">
            <a:off x="-97762" y="3439067"/>
            <a:ext cx="12387524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Marcador de texto 5">
            <a:extLst>
              <a:ext uri="{FF2B5EF4-FFF2-40B4-BE49-F238E27FC236}">
                <a16:creationId xmlns:a16="http://schemas.microsoft.com/office/drawing/2014/main" id="{509D62C0-8146-4813-8C7C-5131B67C408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1474" y="2631363"/>
            <a:ext cx="2227041" cy="37412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8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15" name="Marcador de texto 3">
            <a:extLst>
              <a:ext uri="{FF2B5EF4-FFF2-40B4-BE49-F238E27FC236}">
                <a16:creationId xmlns:a16="http://schemas.microsoft.com/office/drawing/2014/main" id="{4D6FC8DA-5B19-48CA-BC77-7BA6E25751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1871" y="3872645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DBA501E3-D13B-45DB-957E-B15D2A7FE45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4672" y="4210612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texto 5">
            <a:extLst>
              <a:ext uri="{FF2B5EF4-FFF2-40B4-BE49-F238E27FC236}">
                <a16:creationId xmlns:a16="http://schemas.microsoft.com/office/drawing/2014/main" id="{C6039575-3F5F-4A87-BB3D-F2032E7320A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21026" y="3879190"/>
            <a:ext cx="2227041" cy="37412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8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20" name="Marcador de texto 5">
            <a:extLst>
              <a:ext uri="{FF2B5EF4-FFF2-40B4-BE49-F238E27FC236}">
                <a16:creationId xmlns:a16="http://schemas.microsoft.com/office/drawing/2014/main" id="{39970C0F-E84B-4DE3-A4E8-CB31DAD22A2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02101" y="2647750"/>
            <a:ext cx="2227041" cy="37412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8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21" name="Marcador de texto 3">
            <a:extLst>
              <a:ext uri="{FF2B5EF4-FFF2-40B4-BE49-F238E27FC236}">
                <a16:creationId xmlns:a16="http://schemas.microsoft.com/office/drawing/2014/main" id="{5A4CCFE5-0C66-4FDD-B59F-1E53E0614A9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02498" y="3878120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742AC64-A027-45A4-8ECB-39498CF172C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505299" y="4216087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Marcador de texto 5">
            <a:extLst>
              <a:ext uri="{FF2B5EF4-FFF2-40B4-BE49-F238E27FC236}">
                <a16:creationId xmlns:a16="http://schemas.microsoft.com/office/drawing/2014/main" id="{58C7D2FF-D07E-4824-ABC6-88E5F22AAFA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93484" y="3879190"/>
            <a:ext cx="2227041" cy="37412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8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26" name="Marcador de texto 3">
            <a:extLst>
              <a:ext uri="{FF2B5EF4-FFF2-40B4-BE49-F238E27FC236}">
                <a16:creationId xmlns:a16="http://schemas.microsoft.com/office/drawing/2014/main" id="{7C86B625-AAFF-400F-BA59-2CDB5907F80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63255" y="2305489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BE5BEF22-5783-4E3B-8A65-82CC583150A8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66056" y="2643541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Marcador de texto 3">
            <a:extLst>
              <a:ext uri="{FF2B5EF4-FFF2-40B4-BE49-F238E27FC236}">
                <a16:creationId xmlns:a16="http://schemas.microsoft.com/office/drawing/2014/main" id="{48429FFF-6B30-451C-95C3-7C60E9781D2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593882" y="2310964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D94BD13C-6DF3-4DA5-A07F-9768F0F9AF0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596683" y="2649016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B6650AD-B4D3-4217-B9DD-AD1D9FF4C047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78D93E8-3726-47BB-899F-4BAAFCA86C46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2D2B328-3A95-49C5-87A5-59D724A85893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A9E65F8-870B-498F-B593-CAEE6D290873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98200404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ess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E587BE-F6AF-499A-812B-F6A5E822BF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733E61F-A2E3-419A-8F67-857EA928B66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777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4" name="Marcador de texto 5">
            <a:extLst>
              <a:ext uri="{FF2B5EF4-FFF2-40B4-BE49-F238E27FC236}">
                <a16:creationId xmlns:a16="http://schemas.microsoft.com/office/drawing/2014/main" id="{509D62C0-8146-4813-8C7C-5131B67C408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9049" y="4210146"/>
            <a:ext cx="4953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15" name="Marcador de texto 3">
            <a:extLst>
              <a:ext uri="{FF2B5EF4-FFF2-40B4-BE49-F238E27FC236}">
                <a16:creationId xmlns:a16="http://schemas.microsoft.com/office/drawing/2014/main" id="{4D6FC8DA-5B19-48CA-BC77-7BA6E25751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2525" y="3620467"/>
            <a:ext cx="1388349" cy="320398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30" name="Marcador de texto 5">
            <a:extLst>
              <a:ext uri="{FF2B5EF4-FFF2-40B4-BE49-F238E27FC236}">
                <a16:creationId xmlns:a16="http://schemas.microsoft.com/office/drawing/2014/main" id="{2D7DB811-7665-4BF5-8C97-D7668C13ACE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58509" y="4210146"/>
            <a:ext cx="4953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31" name="Marcador de texto 3">
            <a:extLst>
              <a:ext uri="{FF2B5EF4-FFF2-40B4-BE49-F238E27FC236}">
                <a16:creationId xmlns:a16="http://schemas.microsoft.com/office/drawing/2014/main" id="{27876FA5-8964-41A0-A8BD-136BF40832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25566" y="3620467"/>
            <a:ext cx="1388349" cy="320398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10E7F1FD-52CC-4B8C-A3C1-5E978C671F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8791" y="1396800"/>
            <a:ext cx="11451734" cy="12400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Marcador de texto 5">
            <a:extLst>
              <a:ext uri="{FF2B5EF4-FFF2-40B4-BE49-F238E27FC236}">
                <a16:creationId xmlns:a16="http://schemas.microsoft.com/office/drawing/2014/main" id="{2008D7D2-1808-47F1-8AAE-62518B01CC3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848350" y="4210146"/>
            <a:ext cx="4953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53" name="Marcador de texto 3">
            <a:extLst>
              <a:ext uri="{FF2B5EF4-FFF2-40B4-BE49-F238E27FC236}">
                <a16:creationId xmlns:a16="http://schemas.microsoft.com/office/drawing/2014/main" id="{88C16204-C174-43C4-BB28-9DAC2D32575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15407" y="3620467"/>
            <a:ext cx="1388349" cy="320398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54" name="Marcador de texto 5">
            <a:extLst>
              <a:ext uri="{FF2B5EF4-FFF2-40B4-BE49-F238E27FC236}">
                <a16:creationId xmlns:a16="http://schemas.microsoft.com/office/drawing/2014/main" id="{40C66C69-82C9-4C90-BB4A-C8545B37E88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379774" y="4210146"/>
            <a:ext cx="4953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55" name="Marcador de texto 3">
            <a:extLst>
              <a:ext uri="{FF2B5EF4-FFF2-40B4-BE49-F238E27FC236}">
                <a16:creationId xmlns:a16="http://schemas.microsoft.com/office/drawing/2014/main" id="{722BE844-C92F-4763-84AF-F4C4A8F1ED4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46831" y="3620467"/>
            <a:ext cx="1388349" cy="320398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56" name="Marcador de texto 5">
            <a:extLst>
              <a:ext uri="{FF2B5EF4-FFF2-40B4-BE49-F238E27FC236}">
                <a16:creationId xmlns:a16="http://schemas.microsoft.com/office/drawing/2014/main" id="{FE6823A7-BFA7-4AE7-9188-680F405BFC3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948106" y="4210146"/>
            <a:ext cx="4953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57" name="Marcador de texto 3">
            <a:extLst>
              <a:ext uri="{FF2B5EF4-FFF2-40B4-BE49-F238E27FC236}">
                <a16:creationId xmlns:a16="http://schemas.microsoft.com/office/drawing/2014/main" id="{1FDC6618-99C6-41B3-8064-503ED5E5967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515560" y="3620467"/>
            <a:ext cx="1388349" cy="320398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CED1EE1-6879-445F-BCAF-5985760D29E3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93FDA3-B358-4C04-AEEF-F50613B83723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B98246E-2436-48B2-A545-87A1047730C5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7ACF4EB-A139-435B-8B55-1665AAE25031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17793766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3/4 righ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246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0" y="0"/>
            <a:ext cx="37188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399200" y="722639"/>
            <a:ext cx="741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99200" y="1396801"/>
            <a:ext cx="7416000" cy="1240038"/>
          </a:xfrm>
        </p:spPr>
        <p:txBody>
          <a:bodyPr/>
          <a:lstStyle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DA291C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DA291C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9200" y="252000"/>
            <a:ext cx="741600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718800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2" name="Text Placeholder 12" descr="Body text will be presented like this">
            <a:extLst>
              <a:ext uri="{FF2B5EF4-FFF2-40B4-BE49-F238E27FC236}">
                <a16:creationId xmlns:a16="http://schemas.microsoft.com/office/drawing/2014/main" id="{8EC6BA17-CB59-478E-B795-D23AFC8461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63923" y="3558477"/>
            <a:ext cx="6754593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Marcador de texto 5">
            <a:extLst>
              <a:ext uri="{FF2B5EF4-FFF2-40B4-BE49-F238E27FC236}">
                <a16:creationId xmlns:a16="http://schemas.microsoft.com/office/drawing/2014/main" id="{7F7496EB-4618-4C68-A5B2-6B7F593F47A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63923" y="3191276"/>
            <a:ext cx="6754593" cy="32260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17" name="Text Placeholder 12" descr="Body text will be presented like this">
            <a:extLst>
              <a:ext uri="{FF2B5EF4-FFF2-40B4-BE49-F238E27FC236}">
                <a16:creationId xmlns:a16="http://schemas.microsoft.com/office/drawing/2014/main" id="{AF2B001E-7118-42BA-9C03-EBCFFF37317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063923" y="5102252"/>
            <a:ext cx="6754593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texto 5">
            <a:extLst>
              <a:ext uri="{FF2B5EF4-FFF2-40B4-BE49-F238E27FC236}">
                <a16:creationId xmlns:a16="http://schemas.microsoft.com/office/drawing/2014/main" id="{0623F10C-8B2C-4175-9222-F44C753DDF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063923" y="4735051"/>
            <a:ext cx="6754593" cy="32260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DE4F07-2C0A-4C2E-A7CB-ABAD42A476B7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1CBCAA8-70D3-4BD2-A62F-B92059DEFA61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0CC4860-2A8E-4842-BFA3-9A84AE89E74E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5C91F8-8AC2-4475-B6A3-A9CE0380D0E6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09866529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3/4 lef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6120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8435975" y="0"/>
            <a:ext cx="3762095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72275" y="722639"/>
            <a:ext cx="741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2275" y="1396801"/>
            <a:ext cx="7416000" cy="1240038"/>
          </a:xfrm>
        </p:spPr>
        <p:txBody>
          <a:bodyPr/>
          <a:lstStyle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275" y="252000"/>
            <a:ext cx="741600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435975" y="0"/>
            <a:ext cx="3756025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5FF7957-66DF-4AF5-A6A1-EF86C313B74B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2" name="Text Placeholder 12" descr="Body text will be presented like this">
            <a:extLst>
              <a:ext uri="{FF2B5EF4-FFF2-40B4-BE49-F238E27FC236}">
                <a16:creationId xmlns:a16="http://schemas.microsoft.com/office/drawing/2014/main" id="{8EC6BA17-CB59-478E-B795-D23AFC8461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7738" y="3558477"/>
            <a:ext cx="6843853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Marcador de texto 5">
            <a:extLst>
              <a:ext uri="{FF2B5EF4-FFF2-40B4-BE49-F238E27FC236}">
                <a16:creationId xmlns:a16="http://schemas.microsoft.com/office/drawing/2014/main" id="{7F7496EB-4618-4C68-A5B2-6B7F593F47A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7738" y="3191276"/>
            <a:ext cx="6843853" cy="32260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17" name="Text Placeholder 12" descr="Body text will be presented like this">
            <a:extLst>
              <a:ext uri="{FF2B5EF4-FFF2-40B4-BE49-F238E27FC236}">
                <a16:creationId xmlns:a16="http://schemas.microsoft.com/office/drawing/2014/main" id="{AF2B001E-7118-42BA-9C03-EBCFFF37317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7738" y="5102252"/>
            <a:ext cx="6843853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texto 5">
            <a:extLst>
              <a:ext uri="{FF2B5EF4-FFF2-40B4-BE49-F238E27FC236}">
                <a16:creationId xmlns:a16="http://schemas.microsoft.com/office/drawing/2014/main" id="{0623F10C-8B2C-4175-9222-F44C753DDF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7738" y="4735051"/>
            <a:ext cx="6843853" cy="32260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3B2C7D2-4A9F-4E6A-98E8-130508F98C67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F3854B3-C158-4995-918E-5135B93C0E51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6BA0126-C88A-45D3-9F4F-964965D79998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0C4DC54-A200-48AF-AF91-E6B924A6F2E3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CuadroTexto 64">
            <a:extLst>
              <a:ext uri="{FF2B5EF4-FFF2-40B4-BE49-F238E27FC236}">
                <a16:creationId xmlns:a16="http://schemas.microsoft.com/office/drawing/2014/main" id="{A8613F63-CE80-4278-BF0B-6CEA8DFFE4AA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135050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xt 1/3 righ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-1" y="0"/>
            <a:ext cx="4403725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403725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90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771100" y="722639"/>
            <a:ext cx="7044099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1100" y="252000"/>
            <a:ext cx="7044099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5F62136-CD61-4120-ACCD-1F1980E4EBD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589625" y="1399563"/>
            <a:ext cx="2225574" cy="47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E41751-3A54-44D7-B054-DDA2961739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71100" y="1399563"/>
            <a:ext cx="2225574" cy="47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B7DE8D1C-C82F-4DB0-9F49-65C3549A59C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44994" y="1399563"/>
            <a:ext cx="2225574" cy="47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9553C690-4854-43C5-B086-9B9C36ACFAE5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75DF6E5-AA5A-4A2C-B75D-F78E093DA5AD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1FDF9FC-4338-4C8F-890D-7FE13C1A4FDF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3DF3494-2C49-4289-B3E7-ADA9E577B5D6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993FA82-BEE7-43BC-9B51-DB3764809C4F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63259689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ext 1/2 righ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6096001" y="0"/>
            <a:ext cx="6096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2" y="0"/>
            <a:ext cx="6086574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818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70518" y="722639"/>
            <a:ext cx="540525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518" y="252000"/>
            <a:ext cx="54052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E41751-3A54-44D7-B054-DDA2961739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1475" y="1399564"/>
            <a:ext cx="5404293" cy="1738656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 descr="Body text will be presented like this">
            <a:extLst>
              <a:ext uri="{FF2B5EF4-FFF2-40B4-BE49-F238E27FC236}">
                <a16:creationId xmlns:a16="http://schemas.microsoft.com/office/drawing/2014/main" id="{C1088BCB-9554-4EBB-A099-833C4F7DD3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7738" y="3719781"/>
            <a:ext cx="4828030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texto 5">
            <a:extLst>
              <a:ext uri="{FF2B5EF4-FFF2-40B4-BE49-F238E27FC236}">
                <a16:creationId xmlns:a16="http://schemas.microsoft.com/office/drawing/2014/main" id="{6E67A482-664C-45B5-8E90-D6D80334C8D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7738" y="3352580"/>
            <a:ext cx="4828030" cy="32260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21" name="Text Placeholder 12" descr="Body text will be presented like this">
            <a:extLst>
              <a:ext uri="{FF2B5EF4-FFF2-40B4-BE49-F238E27FC236}">
                <a16:creationId xmlns:a16="http://schemas.microsoft.com/office/drawing/2014/main" id="{D61D985A-8504-4CB2-B6CD-745450D27CA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7738" y="5263556"/>
            <a:ext cx="4828030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Marcador de texto 5">
            <a:extLst>
              <a:ext uri="{FF2B5EF4-FFF2-40B4-BE49-F238E27FC236}">
                <a16:creationId xmlns:a16="http://schemas.microsoft.com/office/drawing/2014/main" id="{FAAA81E0-69A3-4760-8F0C-2469611F9FE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7738" y="4896355"/>
            <a:ext cx="4828030" cy="32260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9078069-8CCE-49CE-AC2B-B07861DC0E32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3D7179-32E7-463D-857B-74EDDC9E2539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474A5DF-57F9-47B2-B194-E1FB67F6D5F1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C83C6E3-978A-4023-A07E-369C03F0566A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2795352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3107E2-3D7C-4EA6-A3AE-B45AC3CE49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067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F3107E2-3D7C-4EA6-A3AE-B45AC3CE49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ítulo 1">
            <a:extLst>
              <a:ext uri="{FF2B5EF4-FFF2-40B4-BE49-F238E27FC236}">
                <a16:creationId xmlns:a16="http://schemas.microsoft.com/office/drawing/2014/main" id="{4BFB3231-EC8D-AC43-B9D1-D6556772F6F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524000" y="3189051"/>
            <a:ext cx="9144000" cy="553998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endParaRPr lang="es-ES"/>
          </a:p>
        </p:txBody>
      </p:sp>
      <p:sp>
        <p:nvSpPr>
          <p:cNvPr id="6" name="CuadroTexto 64">
            <a:extLst>
              <a:ext uri="{FF2B5EF4-FFF2-40B4-BE49-F238E27FC236}">
                <a16:creationId xmlns:a16="http://schemas.microsoft.com/office/drawing/2014/main" id="{5D5E7AF8-5D93-47BD-AFBA-EB4A85F3DADD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D7427BE-A42A-403B-9DFB-7967AFEB320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84125" y="4896548"/>
            <a:ext cx="6823749" cy="360000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0CB340-568D-4891-8AA1-41A91180907B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4001E89-B6DE-4CF4-B2EA-0B37655319AC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07162EC-CC32-433F-AC01-78629E33234E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5A75312-1E3B-46CA-A8ED-BAB9A1043BEB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Freeform: Shape 629">
            <a:extLst>
              <a:ext uri="{FF2B5EF4-FFF2-40B4-BE49-F238E27FC236}">
                <a16:creationId xmlns:a16="http://schemas.microsoft.com/office/drawing/2014/main" id="{F5874259-70B5-4C67-9DC8-F0A6601A3A17}"/>
              </a:ext>
            </a:extLst>
          </p:cNvPr>
          <p:cNvSpPr/>
          <p:nvPr userDrawn="1"/>
        </p:nvSpPr>
        <p:spPr>
          <a:xfrm>
            <a:off x="5798502" y="1481812"/>
            <a:ext cx="594995" cy="591616"/>
          </a:xfrm>
          <a:custGeom>
            <a:avLst/>
            <a:gdLst>
              <a:gd name="connsiteX0" fmla="*/ 113583 w 151443"/>
              <a:gd name="connsiteY0" fmla="*/ 67978 h 150583"/>
              <a:gd name="connsiteX1" fmla="*/ 113583 w 151443"/>
              <a:gd name="connsiteY1" fmla="*/ 52489 h 150583"/>
              <a:gd name="connsiteX2" fmla="*/ 98095 w 151443"/>
              <a:gd name="connsiteY2" fmla="*/ 52489 h 150583"/>
              <a:gd name="connsiteX3" fmla="*/ 98095 w 151443"/>
              <a:gd name="connsiteY3" fmla="*/ 67978 h 150583"/>
              <a:gd name="connsiteX4" fmla="*/ 113583 w 151443"/>
              <a:gd name="connsiteY4" fmla="*/ 67978 h 150583"/>
              <a:gd name="connsiteX5" fmla="*/ 83466 w 151443"/>
              <a:gd name="connsiteY5" fmla="*/ 67978 h 150583"/>
              <a:gd name="connsiteX6" fmla="*/ 83466 w 151443"/>
              <a:gd name="connsiteY6" fmla="*/ 52489 h 150583"/>
              <a:gd name="connsiteX7" fmla="*/ 68838 w 151443"/>
              <a:gd name="connsiteY7" fmla="*/ 52489 h 150583"/>
              <a:gd name="connsiteX8" fmla="*/ 68838 w 151443"/>
              <a:gd name="connsiteY8" fmla="*/ 67978 h 150583"/>
              <a:gd name="connsiteX9" fmla="*/ 83466 w 151443"/>
              <a:gd name="connsiteY9" fmla="*/ 67978 h 150583"/>
              <a:gd name="connsiteX10" fmla="*/ 53349 w 151443"/>
              <a:gd name="connsiteY10" fmla="*/ 67978 h 150583"/>
              <a:gd name="connsiteX11" fmla="*/ 53349 w 151443"/>
              <a:gd name="connsiteY11" fmla="*/ 52489 h 150583"/>
              <a:gd name="connsiteX12" fmla="*/ 37861 w 151443"/>
              <a:gd name="connsiteY12" fmla="*/ 52489 h 150583"/>
              <a:gd name="connsiteX13" fmla="*/ 37861 w 151443"/>
              <a:gd name="connsiteY13" fmla="*/ 67978 h 150583"/>
              <a:gd name="connsiteX14" fmla="*/ 53349 w 151443"/>
              <a:gd name="connsiteY14" fmla="*/ 67978 h 150583"/>
              <a:gd name="connsiteX15" fmla="*/ 136816 w 151443"/>
              <a:gd name="connsiteY15" fmla="*/ 0 h 150583"/>
              <a:gd name="connsiteX16" fmla="*/ 147141 w 151443"/>
              <a:gd name="connsiteY16" fmla="*/ 4302 h 150583"/>
              <a:gd name="connsiteX17" fmla="*/ 151444 w 151443"/>
              <a:gd name="connsiteY17" fmla="*/ 14628 h 150583"/>
              <a:gd name="connsiteX18" fmla="*/ 151444 w 151443"/>
              <a:gd name="connsiteY18" fmla="*/ 105839 h 150583"/>
              <a:gd name="connsiteX19" fmla="*/ 147141 w 151443"/>
              <a:gd name="connsiteY19" fmla="*/ 116164 h 150583"/>
              <a:gd name="connsiteX20" fmla="*/ 136816 w 151443"/>
              <a:gd name="connsiteY20" fmla="*/ 120467 h 150583"/>
              <a:gd name="connsiteX21" fmla="*/ 30117 w 151443"/>
              <a:gd name="connsiteY21" fmla="*/ 120467 h 150583"/>
              <a:gd name="connsiteX22" fmla="*/ 0 w 151443"/>
              <a:gd name="connsiteY22" fmla="*/ 150583 h 150583"/>
              <a:gd name="connsiteX23" fmla="*/ 0 w 151443"/>
              <a:gd name="connsiteY23" fmla="*/ 14628 h 150583"/>
              <a:gd name="connsiteX24" fmla="*/ 4302 w 151443"/>
              <a:gd name="connsiteY24" fmla="*/ 4302 h 150583"/>
              <a:gd name="connsiteX25" fmla="*/ 14628 w 151443"/>
              <a:gd name="connsiteY25" fmla="*/ 0 h 150583"/>
              <a:gd name="connsiteX26" fmla="*/ 136816 w 151443"/>
              <a:gd name="connsiteY26" fmla="*/ 0 h 150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51443" h="150583">
                <a:moveTo>
                  <a:pt x="113583" y="67978"/>
                </a:moveTo>
                <a:lnTo>
                  <a:pt x="113583" y="52489"/>
                </a:lnTo>
                <a:lnTo>
                  <a:pt x="98095" y="52489"/>
                </a:lnTo>
                <a:lnTo>
                  <a:pt x="98095" y="67978"/>
                </a:lnTo>
                <a:lnTo>
                  <a:pt x="113583" y="67978"/>
                </a:lnTo>
                <a:close/>
                <a:moveTo>
                  <a:pt x="83466" y="67978"/>
                </a:moveTo>
                <a:lnTo>
                  <a:pt x="83466" y="52489"/>
                </a:lnTo>
                <a:lnTo>
                  <a:pt x="68838" y="52489"/>
                </a:lnTo>
                <a:lnTo>
                  <a:pt x="68838" y="67978"/>
                </a:lnTo>
                <a:lnTo>
                  <a:pt x="83466" y="67978"/>
                </a:lnTo>
                <a:close/>
                <a:moveTo>
                  <a:pt x="53349" y="67978"/>
                </a:moveTo>
                <a:lnTo>
                  <a:pt x="53349" y="52489"/>
                </a:lnTo>
                <a:lnTo>
                  <a:pt x="37861" y="52489"/>
                </a:lnTo>
                <a:lnTo>
                  <a:pt x="37861" y="67978"/>
                </a:lnTo>
                <a:lnTo>
                  <a:pt x="53349" y="67978"/>
                </a:lnTo>
                <a:close/>
                <a:moveTo>
                  <a:pt x="136816" y="0"/>
                </a:moveTo>
                <a:cubicBezTo>
                  <a:pt x="141118" y="0"/>
                  <a:pt x="144559" y="1721"/>
                  <a:pt x="147141" y="4302"/>
                </a:cubicBezTo>
                <a:cubicBezTo>
                  <a:pt x="150583" y="6884"/>
                  <a:pt x="151444" y="10326"/>
                  <a:pt x="151444" y="14628"/>
                </a:cubicBezTo>
                <a:lnTo>
                  <a:pt x="151444" y="105839"/>
                </a:lnTo>
                <a:cubicBezTo>
                  <a:pt x="151444" y="110141"/>
                  <a:pt x="149723" y="113583"/>
                  <a:pt x="147141" y="116164"/>
                </a:cubicBezTo>
                <a:cubicBezTo>
                  <a:pt x="144559" y="119606"/>
                  <a:pt x="141118" y="120467"/>
                  <a:pt x="136816" y="120467"/>
                </a:cubicBezTo>
                <a:lnTo>
                  <a:pt x="30117" y="120467"/>
                </a:lnTo>
                <a:lnTo>
                  <a:pt x="0" y="150583"/>
                </a:lnTo>
                <a:lnTo>
                  <a:pt x="0" y="14628"/>
                </a:lnTo>
                <a:cubicBezTo>
                  <a:pt x="0" y="10326"/>
                  <a:pt x="1721" y="6884"/>
                  <a:pt x="4302" y="4302"/>
                </a:cubicBezTo>
                <a:cubicBezTo>
                  <a:pt x="7745" y="860"/>
                  <a:pt x="11186" y="0"/>
                  <a:pt x="14628" y="0"/>
                </a:cubicBezTo>
                <a:lnTo>
                  <a:pt x="136816" y="0"/>
                </a:lnTo>
                <a:close/>
              </a:path>
            </a:pathLst>
          </a:custGeom>
          <a:solidFill>
            <a:schemeClr val="bg1"/>
          </a:solidFill>
          <a:ln w="8603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41341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ext 1/2 lef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1588" y="0"/>
            <a:ext cx="6096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6086574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7089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413267" y="722639"/>
            <a:ext cx="540525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DA291C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DA291C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267" y="252000"/>
            <a:ext cx="54052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E41751-3A54-44D7-B054-DDA2961739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14224" y="1399564"/>
            <a:ext cx="5404293" cy="1738656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 descr="Body text will be presented like this">
            <a:extLst>
              <a:ext uri="{FF2B5EF4-FFF2-40B4-BE49-F238E27FC236}">
                <a16:creationId xmlns:a16="http://schemas.microsoft.com/office/drawing/2014/main" id="{C1088BCB-9554-4EBB-A099-833C4F7DD3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0487" y="3719781"/>
            <a:ext cx="4828030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texto 5">
            <a:extLst>
              <a:ext uri="{FF2B5EF4-FFF2-40B4-BE49-F238E27FC236}">
                <a16:creationId xmlns:a16="http://schemas.microsoft.com/office/drawing/2014/main" id="{6E67A482-664C-45B5-8E90-D6D80334C8D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90487" y="3352580"/>
            <a:ext cx="4828030" cy="32260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21" name="Text Placeholder 12" descr="Body text will be presented like this">
            <a:extLst>
              <a:ext uri="{FF2B5EF4-FFF2-40B4-BE49-F238E27FC236}">
                <a16:creationId xmlns:a16="http://schemas.microsoft.com/office/drawing/2014/main" id="{D61D985A-8504-4CB2-B6CD-745450D27CA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90487" y="5263556"/>
            <a:ext cx="4828030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Marcador de texto 5">
            <a:extLst>
              <a:ext uri="{FF2B5EF4-FFF2-40B4-BE49-F238E27FC236}">
                <a16:creationId xmlns:a16="http://schemas.microsoft.com/office/drawing/2014/main" id="{FAAA81E0-69A3-4760-8F0C-2469611F9FE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90487" y="4896355"/>
            <a:ext cx="4828030" cy="32260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5140101-97EA-4ECF-9329-A2FC5E90F346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8746B6C-EB9A-4FE9-86D4-F3C9E4686CF7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EFFEB34-DC8C-48D3-A44B-077E17C87438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53FB71E-88C9-401C-A002-7B2E116B3E86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18478799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section with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6096001" y="0"/>
            <a:ext cx="6096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1" y="-9397"/>
            <a:ext cx="6107561" cy="6875162"/>
          </a:xfrm>
          <a:custGeom>
            <a:avLst/>
            <a:gdLst>
              <a:gd name="connsiteX0" fmla="*/ 0 w 6086574"/>
              <a:gd name="connsiteY0" fmla="*/ 0 h 6858000"/>
              <a:gd name="connsiteX1" fmla="*/ 6086574 w 6086574"/>
              <a:gd name="connsiteY1" fmla="*/ 0 h 6858000"/>
              <a:gd name="connsiteX2" fmla="*/ 6086574 w 6086574"/>
              <a:gd name="connsiteY2" fmla="*/ 6858000 h 6858000"/>
              <a:gd name="connsiteX3" fmla="*/ 0 w 6086574"/>
              <a:gd name="connsiteY3" fmla="*/ 6858000 h 6858000"/>
              <a:gd name="connsiteX4" fmla="*/ 0 w 6086574"/>
              <a:gd name="connsiteY4" fmla="*/ 0 h 6858000"/>
              <a:gd name="connsiteX0" fmla="*/ 0 w 6108346"/>
              <a:gd name="connsiteY0" fmla="*/ 0 h 6858000"/>
              <a:gd name="connsiteX1" fmla="*/ 6086574 w 6108346"/>
              <a:gd name="connsiteY1" fmla="*/ 0 h 6858000"/>
              <a:gd name="connsiteX2" fmla="*/ 6108346 w 6108346"/>
              <a:gd name="connsiteY2" fmla="*/ 6858000 h 6858000"/>
              <a:gd name="connsiteX3" fmla="*/ 0 w 6108346"/>
              <a:gd name="connsiteY3" fmla="*/ 6858000 h 6858000"/>
              <a:gd name="connsiteX4" fmla="*/ 0 w 6108346"/>
              <a:gd name="connsiteY4" fmla="*/ 0 h 6858000"/>
              <a:gd name="connsiteX0" fmla="*/ 0 w 6108346"/>
              <a:gd name="connsiteY0" fmla="*/ 16329 h 6874329"/>
              <a:gd name="connsiteX1" fmla="*/ 6097459 w 6108346"/>
              <a:gd name="connsiteY1" fmla="*/ 0 h 6874329"/>
              <a:gd name="connsiteX2" fmla="*/ 6108346 w 6108346"/>
              <a:gd name="connsiteY2" fmla="*/ 6874329 h 6874329"/>
              <a:gd name="connsiteX3" fmla="*/ 0 w 6108346"/>
              <a:gd name="connsiteY3" fmla="*/ 6874329 h 6874329"/>
              <a:gd name="connsiteX4" fmla="*/ 0 w 6108346"/>
              <a:gd name="connsiteY4" fmla="*/ 16329 h 6874329"/>
              <a:gd name="connsiteX0" fmla="*/ 0 w 6108346"/>
              <a:gd name="connsiteY0" fmla="*/ 8709 h 6866709"/>
              <a:gd name="connsiteX1" fmla="*/ 6105079 w 6108346"/>
              <a:gd name="connsiteY1" fmla="*/ 0 h 6866709"/>
              <a:gd name="connsiteX2" fmla="*/ 6108346 w 6108346"/>
              <a:gd name="connsiteY2" fmla="*/ 6866709 h 6866709"/>
              <a:gd name="connsiteX3" fmla="*/ 0 w 6108346"/>
              <a:gd name="connsiteY3" fmla="*/ 6866709 h 6866709"/>
              <a:gd name="connsiteX4" fmla="*/ 0 w 6108346"/>
              <a:gd name="connsiteY4" fmla="*/ 8709 h 6866709"/>
              <a:gd name="connsiteX0" fmla="*/ 0 w 6106531"/>
              <a:gd name="connsiteY0" fmla="*/ 8709 h 6866709"/>
              <a:gd name="connsiteX1" fmla="*/ 6105079 w 6106531"/>
              <a:gd name="connsiteY1" fmla="*/ 0 h 6866709"/>
              <a:gd name="connsiteX2" fmla="*/ 6096916 w 6106531"/>
              <a:gd name="connsiteY2" fmla="*/ 6862899 h 6866709"/>
              <a:gd name="connsiteX3" fmla="*/ 0 w 6106531"/>
              <a:gd name="connsiteY3" fmla="*/ 6866709 h 6866709"/>
              <a:gd name="connsiteX4" fmla="*/ 0 w 6106531"/>
              <a:gd name="connsiteY4" fmla="*/ 8709 h 6866709"/>
              <a:gd name="connsiteX0" fmla="*/ 0 w 6106933"/>
              <a:gd name="connsiteY0" fmla="*/ 8709 h 6874474"/>
              <a:gd name="connsiteX1" fmla="*/ 6105079 w 6106933"/>
              <a:gd name="connsiteY1" fmla="*/ 0 h 6874474"/>
              <a:gd name="connsiteX2" fmla="*/ 6102704 w 6106933"/>
              <a:gd name="connsiteY2" fmla="*/ 6874474 h 6874474"/>
              <a:gd name="connsiteX3" fmla="*/ 0 w 6106933"/>
              <a:gd name="connsiteY3" fmla="*/ 6866709 h 6874474"/>
              <a:gd name="connsiteX4" fmla="*/ 0 w 6106933"/>
              <a:gd name="connsiteY4" fmla="*/ 8709 h 6874474"/>
              <a:gd name="connsiteX0" fmla="*/ 0 w 6117848"/>
              <a:gd name="connsiteY0" fmla="*/ 20283 h 6886048"/>
              <a:gd name="connsiteX1" fmla="*/ 6116653 w 6117848"/>
              <a:gd name="connsiteY1" fmla="*/ 0 h 6886048"/>
              <a:gd name="connsiteX2" fmla="*/ 6102704 w 6117848"/>
              <a:gd name="connsiteY2" fmla="*/ 6886048 h 6886048"/>
              <a:gd name="connsiteX3" fmla="*/ 0 w 6117848"/>
              <a:gd name="connsiteY3" fmla="*/ 6878283 h 6886048"/>
              <a:gd name="connsiteX4" fmla="*/ 0 w 6117848"/>
              <a:gd name="connsiteY4" fmla="*/ 20283 h 6886048"/>
              <a:gd name="connsiteX0" fmla="*/ 0 w 6107561"/>
              <a:gd name="connsiteY0" fmla="*/ 9397 h 6875162"/>
              <a:gd name="connsiteX1" fmla="*/ 6105767 w 6107561"/>
              <a:gd name="connsiteY1" fmla="*/ 0 h 6875162"/>
              <a:gd name="connsiteX2" fmla="*/ 6102704 w 6107561"/>
              <a:gd name="connsiteY2" fmla="*/ 6875162 h 6875162"/>
              <a:gd name="connsiteX3" fmla="*/ 0 w 6107561"/>
              <a:gd name="connsiteY3" fmla="*/ 6867397 h 6875162"/>
              <a:gd name="connsiteX4" fmla="*/ 0 w 6107561"/>
              <a:gd name="connsiteY4" fmla="*/ 9397 h 6875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07561" h="6875162">
                <a:moveTo>
                  <a:pt x="0" y="9397"/>
                </a:moveTo>
                <a:lnTo>
                  <a:pt x="6105767" y="0"/>
                </a:lnTo>
                <a:cubicBezTo>
                  <a:pt x="6113024" y="2286000"/>
                  <a:pt x="6095447" y="4589162"/>
                  <a:pt x="6102704" y="6875162"/>
                </a:cubicBezTo>
                <a:lnTo>
                  <a:pt x="0" y="6867397"/>
                </a:lnTo>
                <a:lnTo>
                  <a:pt x="0" y="9397"/>
                </a:lnTo>
                <a:close/>
              </a:path>
            </a:pathLst>
          </a:cu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1361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70518" y="722639"/>
            <a:ext cx="540525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518" y="252000"/>
            <a:ext cx="54052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E41751-3A54-44D7-B054-DDA2961739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1475" y="3173979"/>
            <a:ext cx="5404293" cy="1738656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Marcador de texto 5">
            <a:extLst>
              <a:ext uri="{FF2B5EF4-FFF2-40B4-BE49-F238E27FC236}">
                <a16:creationId xmlns:a16="http://schemas.microsoft.com/office/drawing/2014/main" id="{10718DDE-7E26-4940-95D1-5062B930F8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2191553"/>
            <a:ext cx="2463133" cy="7872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1BFABD9-71A4-48AC-B9A0-500C0C30BF49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230991-F8D8-4785-8DDA-F77C8CC87108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B304BAA-175E-417F-8278-A4011D20009B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0A909DC-1B75-4621-AFCC-D3327A7C3D85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96075591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ubsection with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0" y="0"/>
            <a:ext cx="610515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7604" y="0"/>
            <a:ext cx="6113031" cy="6858000"/>
          </a:xfrm>
          <a:custGeom>
            <a:avLst/>
            <a:gdLst>
              <a:gd name="connsiteX0" fmla="*/ 0 w 6086574"/>
              <a:gd name="connsiteY0" fmla="*/ 0 h 6858000"/>
              <a:gd name="connsiteX1" fmla="*/ 6086574 w 6086574"/>
              <a:gd name="connsiteY1" fmla="*/ 0 h 6858000"/>
              <a:gd name="connsiteX2" fmla="*/ 6086574 w 6086574"/>
              <a:gd name="connsiteY2" fmla="*/ 6858000 h 6858000"/>
              <a:gd name="connsiteX3" fmla="*/ 0 w 6086574"/>
              <a:gd name="connsiteY3" fmla="*/ 6858000 h 6858000"/>
              <a:gd name="connsiteX4" fmla="*/ 0 w 6086574"/>
              <a:gd name="connsiteY4" fmla="*/ 0 h 6858000"/>
              <a:gd name="connsiteX0" fmla="*/ 0 w 6086574"/>
              <a:gd name="connsiteY0" fmla="*/ 0 h 6858000"/>
              <a:gd name="connsiteX1" fmla="*/ 6086574 w 6086574"/>
              <a:gd name="connsiteY1" fmla="*/ 0 h 6858000"/>
              <a:gd name="connsiteX2" fmla="*/ 6086574 w 6086574"/>
              <a:gd name="connsiteY2" fmla="*/ 6858000 h 6858000"/>
              <a:gd name="connsiteX3" fmla="*/ 15240 w 6086574"/>
              <a:gd name="connsiteY3" fmla="*/ 6858000 h 6858000"/>
              <a:gd name="connsiteX4" fmla="*/ 0 w 6086574"/>
              <a:gd name="connsiteY4" fmla="*/ 0 h 6858000"/>
              <a:gd name="connsiteX0" fmla="*/ 66040 w 6071334"/>
              <a:gd name="connsiteY0" fmla="*/ 60960 h 6858000"/>
              <a:gd name="connsiteX1" fmla="*/ 6071334 w 6071334"/>
              <a:gd name="connsiteY1" fmla="*/ 0 h 6858000"/>
              <a:gd name="connsiteX2" fmla="*/ 6071334 w 6071334"/>
              <a:gd name="connsiteY2" fmla="*/ 6858000 h 6858000"/>
              <a:gd name="connsiteX3" fmla="*/ 0 w 6071334"/>
              <a:gd name="connsiteY3" fmla="*/ 6858000 h 6858000"/>
              <a:gd name="connsiteX4" fmla="*/ 66040 w 6071334"/>
              <a:gd name="connsiteY4" fmla="*/ 60960 h 6858000"/>
              <a:gd name="connsiteX0" fmla="*/ 0 w 6158836"/>
              <a:gd name="connsiteY0" fmla="*/ 0 h 6858000"/>
              <a:gd name="connsiteX1" fmla="*/ 6158836 w 6158836"/>
              <a:gd name="connsiteY1" fmla="*/ 0 h 6858000"/>
              <a:gd name="connsiteX2" fmla="*/ 6158836 w 6158836"/>
              <a:gd name="connsiteY2" fmla="*/ 6858000 h 6858000"/>
              <a:gd name="connsiteX3" fmla="*/ 87502 w 6158836"/>
              <a:gd name="connsiteY3" fmla="*/ 6858000 h 6858000"/>
              <a:gd name="connsiteX4" fmla="*/ 0 w 6158836"/>
              <a:gd name="connsiteY4" fmla="*/ 0 h 6858000"/>
              <a:gd name="connsiteX0" fmla="*/ 0 w 6158836"/>
              <a:gd name="connsiteY0" fmla="*/ 0 h 6858000"/>
              <a:gd name="connsiteX1" fmla="*/ 6158836 w 6158836"/>
              <a:gd name="connsiteY1" fmla="*/ 0 h 6858000"/>
              <a:gd name="connsiteX2" fmla="*/ 6158836 w 6158836"/>
              <a:gd name="connsiteY2" fmla="*/ 6858000 h 6858000"/>
              <a:gd name="connsiteX3" fmla="*/ 5613 w 6158836"/>
              <a:gd name="connsiteY3" fmla="*/ 6858000 h 6858000"/>
              <a:gd name="connsiteX4" fmla="*/ 0 w 6158836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8836" h="6858000">
                <a:moveTo>
                  <a:pt x="0" y="0"/>
                </a:moveTo>
                <a:lnTo>
                  <a:pt x="6158836" y="0"/>
                </a:lnTo>
                <a:lnTo>
                  <a:pt x="6158836" y="6858000"/>
                </a:lnTo>
                <a:lnTo>
                  <a:pt x="5613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1164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413267" y="722639"/>
            <a:ext cx="540525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DA291C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DA291C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267" y="252000"/>
            <a:ext cx="54052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E41751-3A54-44D7-B054-DDA2961739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14224" y="3173979"/>
            <a:ext cx="5404293" cy="1738656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Marcador de texto 5">
            <a:extLst>
              <a:ext uri="{FF2B5EF4-FFF2-40B4-BE49-F238E27FC236}">
                <a16:creationId xmlns:a16="http://schemas.microsoft.com/office/drawing/2014/main" id="{10718DDE-7E26-4940-95D1-5062B930F8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4224" y="2191553"/>
            <a:ext cx="2463133" cy="7872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B30A2B8-192E-41D0-8A86-311B915A8384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11632D0-25BC-485A-823B-161E4396D7B3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E07A2AF-C33E-459B-ADD5-015501CE194C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709EBA-A293-4867-8520-D1E2DCE22AA4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64045110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 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6096001" y="0"/>
            <a:ext cx="294116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6" name="Rectángulo 1">
            <a:extLst>
              <a:ext uri="{FF2B5EF4-FFF2-40B4-BE49-F238E27FC236}">
                <a16:creationId xmlns:a16="http://schemas.microsoft.com/office/drawing/2014/main" id="{73B0E165-7117-4FDF-B257-8A783A9175B2}"/>
              </a:ext>
            </a:extLst>
          </p:cNvPr>
          <p:cNvSpPr/>
          <p:nvPr userDrawn="1"/>
        </p:nvSpPr>
        <p:spPr>
          <a:xfrm>
            <a:off x="9250841" y="0"/>
            <a:ext cx="294116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2" y="0"/>
            <a:ext cx="294115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7535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70518" y="722639"/>
            <a:ext cx="540525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518" y="252000"/>
            <a:ext cx="54052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E41751-3A54-44D7-B054-DDA2961739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1475" y="1393825"/>
            <a:ext cx="5259609" cy="4757738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Marcador de posición de imagen 2">
            <a:extLst>
              <a:ext uri="{FF2B5EF4-FFF2-40B4-BE49-F238E27FC236}">
                <a16:creationId xmlns:a16="http://schemas.microsoft.com/office/drawing/2014/main" id="{14EBE46E-BB97-40AB-9515-9DE1117E2A2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250841" y="0"/>
            <a:ext cx="294115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7C1DA8-3C80-4F24-A118-B1456D302ABE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2FDE649-CAB0-4851-87E3-8CD95EF5F389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7A32E8-1A3A-4DF3-8875-C2D17FC6B633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4CC4757-52E1-40BE-855A-D3523CFBF85E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8117778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 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3176" y="0"/>
            <a:ext cx="294116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6" name="Rectángulo 1">
            <a:extLst>
              <a:ext uri="{FF2B5EF4-FFF2-40B4-BE49-F238E27FC236}">
                <a16:creationId xmlns:a16="http://schemas.microsoft.com/office/drawing/2014/main" id="{73B0E165-7117-4FDF-B257-8A783A9175B2}"/>
              </a:ext>
            </a:extLst>
          </p:cNvPr>
          <p:cNvSpPr/>
          <p:nvPr userDrawn="1"/>
        </p:nvSpPr>
        <p:spPr>
          <a:xfrm>
            <a:off x="3158016" y="0"/>
            <a:ext cx="294116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77" y="0"/>
            <a:ext cx="294115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7008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413267" y="722639"/>
            <a:ext cx="540525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DA291C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DA291C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267" y="252000"/>
            <a:ext cx="54052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E41751-3A54-44D7-B054-DDA2961739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14224" y="1393825"/>
            <a:ext cx="5404293" cy="4757738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Marcador de posición de imagen 2">
            <a:extLst>
              <a:ext uri="{FF2B5EF4-FFF2-40B4-BE49-F238E27FC236}">
                <a16:creationId xmlns:a16="http://schemas.microsoft.com/office/drawing/2014/main" id="{14EBE46E-BB97-40AB-9515-9DE1117E2A2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158016" y="0"/>
            <a:ext cx="294115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F83C9EE-0D26-4B07-A8F5-61D66DA452F2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9E82E2-8933-4ADD-8C06-F262F2F839EC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362C08-751D-4493-8368-ED545957D433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1A47E10-1B50-467E-BF6B-3B43AAFF2909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52279279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ubsection with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-7838" y="0"/>
            <a:ext cx="6096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7838" y="0"/>
            <a:ext cx="6096000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7521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415275" y="722639"/>
            <a:ext cx="540525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75" y="252000"/>
            <a:ext cx="54052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E41751-3A54-44D7-B054-DDA2961739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14224" y="3173979"/>
            <a:ext cx="5404293" cy="1738656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Marcador de texto 5">
            <a:extLst>
              <a:ext uri="{FF2B5EF4-FFF2-40B4-BE49-F238E27FC236}">
                <a16:creationId xmlns:a16="http://schemas.microsoft.com/office/drawing/2014/main" id="{10718DDE-7E26-4940-95D1-5062B930F8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27934" y="2191553"/>
            <a:ext cx="2463133" cy="7872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AE7C7B8-191F-429A-A8C5-3023FCE6EDF0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457D5F3-81F9-4AE1-8968-4C37B7224C54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619BDB-3394-4547-BB09-FB00D19F0E74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5EA662-CFE6-4ABC-99EB-15E69BC71908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CuadroTexto 64">
            <a:extLst>
              <a:ext uri="{FF2B5EF4-FFF2-40B4-BE49-F238E27FC236}">
                <a16:creationId xmlns:a16="http://schemas.microsoft.com/office/drawing/2014/main" id="{E62EFA46-1505-4264-B90C-357C56827B54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DA291C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DA291C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364377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ACC5AA-949F-4568-A7A2-68F951095A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C1194D8-9C07-42A4-8770-937BB97EE18B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777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5" name="Marcador de posición de imagen 2">
            <a:extLst>
              <a:ext uri="{FF2B5EF4-FFF2-40B4-BE49-F238E27FC236}">
                <a16:creationId xmlns:a16="http://schemas.microsoft.com/office/drawing/2014/main" id="{B8047554-68A8-4A25-8A8E-5521C623855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71474" y="1971856"/>
            <a:ext cx="3347325" cy="12372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client logo here</a:t>
            </a:r>
          </a:p>
        </p:txBody>
      </p:sp>
      <p:sp>
        <p:nvSpPr>
          <p:cNvPr id="6" name="Marcador de posición de imagen 2">
            <a:extLst>
              <a:ext uri="{FF2B5EF4-FFF2-40B4-BE49-F238E27FC236}">
                <a16:creationId xmlns:a16="http://schemas.microsoft.com/office/drawing/2014/main" id="{58CA0082-9DA6-485D-9D8D-290A774584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417537" y="1971856"/>
            <a:ext cx="3370738" cy="12372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client logo here</a:t>
            </a:r>
          </a:p>
        </p:txBody>
      </p:sp>
      <p:sp>
        <p:nvSpPr>
          <p:cNvPr id="8" name="Marcador de posición de imagen 2">
            <a:extLst>
              <a:ext uri="{FF2B5EF4-FFF2-40B4-BE49-F238E27FC236}">
                <a16:creationId xmlns:a16="http://schemas.microsoft.com/office/drawing/2014/main" id="{89F21956-4998-442B-A3C4-9C3B52C1B89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444462" y="1971856"/>
            <a:ext cx="3370738" cy="12372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client logo here</a:t>
            </a:r>
          </a:p>
        </p:txBody>
      </p:sp>
      <p:sp>
        <p:nvSpPr>
          <p:cNvPr id="9" name="Marcador de posición de imagen 2">
            <a:extLst>
              <a:ext uri="{FF2B5EF4-FFF2-40B4-BE49-F238E27FC236}">
                <a16:creationId xmlns:a16="http://schemas.microsoft.com/office/drawing/2014/main" id="{289A5EEB-795F-462A-B1C1-C5513C87A0C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6799" y="3781324"/>
            <a:ext cx="3347325" cy="12372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client logo here</a:t>
            </a:r>
          </a:p>
        </p:txBody>
      </p:sp>
      <p:sp>
        <p:nvSpPr>
          <p:cNvPr id="10" name="Marcador de posición de imagen 2">
            <a:extLst>
              <a:ext uri="{FF2B5EF4-FFF2-40B4-BE49-F238E27FC236}">
                <a16:creationId xmlns:a16="http://schemas.microsoft.com/office/drawing/2014/main" id="{F9907DE7-A9A4-43E1-8603-767CDA87B9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22862" y="3781324"/>
            <a:ext cx="3370738" cy="12372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client logo here</a:t>
            </a:r>
          </a:p>
        </p:txBody>
      </p:sp>
      <p:sp>
        <p:nvSpPr>
          <p:cNvPr id="11" name="Marcador de posición de imagen 2">
            <a:extLst>
              <a:ext uri="{FF2B5EF4-FFF2-40B4-BE49-F238E27FC236}">
                <a16:creationId xmlns:a16="http://schemas.microsoft.com/office/drawing/2014/main" id="{715A367D-3A19-4613-A602-0E3E913F398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449787" y="3781324"/>
            <a:ext cx="3370738" cy="12372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client logo her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51D43D1-EDB8-4617-9195-9A772A76094A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6BA317E-69D7-45F4-8F8E-70C4165EB3FA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34C6D53-4186-4C01-B4E8-7B4358245932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C93D94-5680-416F-9D35-777E1C5379CD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63152152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reen Mock 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1">
            <a:extLst>
              <a:ext uri="{FF2B5EF4-FFF2-40B4-BE49-F238E27FC236}">
                <a16:creationId xmlns:a16="http://schemas.microsoft.com/office/drawing/2014/main" id="{09D36D77-E84A-4443-AE6A-B66BB6340CB0}"/>
              </a:ext>
            </a:extLst>
          </p:cNvPr>
          <p:cNvSpPr/>
          <p:nvPr userDrawn="1"/>
        </p:nvSpPr>
        <p:spPr>
          <a:xfrm>
            <a:off x="-7838" y="0"/>
            <a:ext cx="12199838" cy="26368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11C2339C-4F0F-4229-868D-EA06EE2ABB4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871" y="4798620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968167E-03C0-40CB-A0AA-D4B01F77458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4672" y="5113608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Marcador de texto 3">
            <a:extLst>
              <a:ext uri="{FF2B5EF4-FFF2-40B4-BE49-F238E27FC236}">
                <a16:creationId xmlns:a16="http://schemas.microsoft.com/office/drawing/2014/main" id="{74BFD1CF-4E09-4A9C-B27A-9D5AC094404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590683" y="4804031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9E7F47C-1F45-43AD-91BE-0E123ECF9C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593484" y="5119019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texto 3">
            <a:extLst>
              <a:ext uri="{FF2B5EF4-FFF2-40B4-BE49-F238E27FC236}">
                <a16:creationId xmlns:a16="http://schemas.microsoft.com/office/drawing/2014/main" id="{E75E755B-551F-41D2-BD2E-92EB287673E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479022" y="4804031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60A8A25-6B12-4703-83EF-E18353DE132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481823" y="5119019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1AADA4C3-E6F3-4B58-92B3-3612A9D8612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473979" y="4809442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A53B84E-7A43-40E1-A41F-784C475CCE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476780" y="5124430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204B2F-883E-407D-A005-BF7BABD9854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1D98CE-B011-4356-A502-CD246FD3262F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5ACD5AF-C214-49BF-B81B-7E30A84FF64B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A85B380-9EFF-48A6-BCF3-88DC8CD46D85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13789557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creen Mock 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1">
            <a:extLst>
              <a:ext uri="{FF2B5EF4-FFF2-40B4-BE49-F238E27FC236}">
                <a16:creationId xmlns:a16="http://schemas.microsoft.com/office/drawing/2014/main" id="{09D36D77-E84A-4443-AE6A-B66BB6340CB0}"/>
              </a:ext>
            </a:extLst>
          </p:cNvPr>
          <p:cNvSpPr/>
          <p:nvPr userDrawn="1"/>
        </p:nvSpPr>
        <p:spPr>
          <a:xfrm rot="-300000">
            <a:off x="-134184" y="-535618"/>
            <a:ext cx="12373879" cy="2688648"/>
          </a:xfrm>
          <a:custGeom>
            <a:avLst/>
            <a:gdLst>
              <a:gd name="connsiteX0" fmla="*/ 0 w 12316995"/>
              <a:gd name="connsiteY0" fmla="*/ 0 h 2636838"/>
              <a:gd name="connsiteX1" fmla="*/ 12316995 w 12316995"/>
              <a:gd name="connsiteY1" fmla="*/ 0 h 2636838"/>
              <a:gd name="connsiteX2" fmla="*/ 12316995 w 12316995"/>
              <a:gd name="connsiteY2" fmla="*/ 2636838 h 2636838"/>
              <a:gd name="connsiteX3" fmla="*/ 0 w 12316995"/>
              <a:gd name="connsiteY3" fmla="*/ 2636838 h 2636838"/>
              <a:gd name="connsiteX4" fmla="*/ 0 w 12316995"/>
              <a:gd name="connsiteY4" fmla="*/ 0 h 2636838"/>
              <a:gd name="connsiteX0" fmla="*/ 291720 w 12316995"/>
              <a:gd name="connsiteY0" fmla="*/ 0 h 3165979"/>
              <a:gd name="connsiteX1" fmla="*/ 12316995 w 12316995"/>
              <a:gd name="connsiteY1" fmla="*/ 529141 h 3165979"/>
              <a:gd name="connsiteX2" fmla="*/ 12316995 w 12316995"/>
              <a:gd name="connsiteY2" fmla="*/ 3165979 h 3165979"/>
              <a:gd name="connsiteX3" fmla="*/ 0 w 12316995"/>
              <a:gd name="connsiteY3" fmla="*/ 3165979 h 3165979"/>
              <a:gd name="connsiteX4" fmla="*/ 291720 w 12316995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316995 w 12427262"/>
              <a:gd name="connsiteY2" fmla="*/ 3165979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259342 w 12427262"/>
              <a:gd name="connsiteY2" fmla="*/ 3160935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32323"/>
              <a:gd name="connsiteY0" fmla="*/ 0 h 3165979"/>
              <a:gd name="connsiteX1" fmla="*/ 12432323 w 12432323"/>
              <a:gd name="connsiteY1" fmla="*/ 1062082 h 3165979"/>
              <a:gd name="connsiteX2" fmla="*/ 12259342 w 12432323"/>
              <a:gd name="connsiteY2" fmla="*/ 3160935 h 3165979"/>
              <a:gd name="connsiteX3" fmla="*/ 0 w 12432323"/>
              <a:gd name="connsiteY3" fmla="*/ 3165979 h 3165979"/>
              <a:gd name="connsiteX4" fmla="*/ 291720 w 12432323"/>
              <a:gd name="connsiteY4" fmla="*/ 0 h 3165979"/>
              <a:gd name="connsiteX0" fmla="*/ 282042 w 12432323"/>
              <a:gd name="connsiteY0" fmla="*/ 0 h 3171925"/>
              <a:gd name="connsiteX1" fmla="*/ 12432323 w 12432323"/>
              <a:gd name="connsiteY1" fmla="*/ 1068028 h 3171925"/>
              <a:gd name="connsiteX2" fmla="*/ 12259342 w 12432323"/>
              <a:gd name="connsiteY2" fmla="*/ 3166881 h 3171925"/>
              <a:gd name="connsiteX3" fmla="*/ 0 w 12432323"/>
              <a:gd name="connsiteY3" fmla="*/ 3171925 h 3171925"/>
              <a:gd name="connsiteX4" fmla="*/ 282042 w 12432323"/>
              <a:gd name="connsiteY4" fmla="*/ 0 h 3171925"/>
              <a:gd name="connsiteX0" fmla="*/ 223598 w 12373879"/>
              <a:gd name="connsiteY0" fmla="*/ 0 h 3166881"/>
              <a:gd name="connsiteX1" fmla="*/ 12373879 w 12373879"/>
              <a:gd name="connsiteY1" fmla="*/ 1068028 h 3166881"/>
              <a:gd name="connsiteX2" fmla="*/ 12200898 w 12373879"/>
              <a:gd name="connsiteY2" fmla="*/ 3166881 h 3166881"/>
              <a:gd name="connsiteX3" fmla="*/ 0 w 12373879"/>
              <a:gd name="connsiteY3" fmla="*/ 2503916 h 3166881"/>
              <a:gd name="connsiteX4" fmla="*/ 223598 w 12373879"/>
              <a:gd name="connsiteY4" fmla="*/ 0 h 3166881"/>
              <a:gd name="connsiteX0" fmla="*/ 223598 w 12373879"/>
              <a:gd name="connsiteY0" fmla="*/ 0 h 2688648"/>
              <a:gd name="connsiteX1" fmla="*/ 12373879 w 12373879"/>
              <a:gd name="connsiteY1" fmla="*/ 1068028 h 2688648"/>
              <a:gd name="connsiteX2" fmla="*/ 12242738 w 12373879"/>
              <a:gd name="connsiteY2" fmla="*/ 2688648 h 2688648"/>
              <a:gd name="connsiteX3" fmla="*/ 0 w 12373879"/>
              <a:gd name="connsiteY3" fmla="*/ 2503916 h 2688648"/>
              <a:gd name="connsiteX4" fmla="*/ 223598 w 12373879"/>
              <a:gd name="connsiteY4" fmla="*/ 0 h 2688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73879" h="2688648">
                <a:moveTo>
                  <a:pt x="223598" y="0"/>
                </a:moveTo>
                <a:lnTo>
                  <a:pt x="12373879" y="1068028"/>
                </a:lnTo>
                <a:lnTo>
                  <a:pt x="12242738" y="2688648"/>
                </a:lnTo>
                <a:lnTo>
                  <a:pt x="0" y="2503916"/>
                </a:lnTo>
                <a:lnTo>
                  <a:pt x="223598" y="0"/>
                </a:lnTo>
                <a:close/>
              </a:path>
            </a:pathLst>
          </a:custGeom>
          <a:gradFill>
            <a:gsLst>
              <a:gs pos="2400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11C2339C-4F0F-4229-868D-EA06EE2ABB4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871" y="4798620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968167E-03C0-40CB-A0AA-D4B01F77458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4672" y="5113608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Marcador de texto 3">
            <a:extLst>
              <a:ext uri="{FF2B5EF4-FFF2-40B4-BE49-F238E27FC236}">
                <a16:creationId xmlns:a16="http://schemas.microsoft.com/office/drawing/2014/main" id="{74BFD1CF-4E09-4A9C-B27A-9D5AC094404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590683" y="4804031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9E7F47C-1F45-43AD-91BE-0E123ECF9C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593484" y="5119019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texto 3">
            <a:extLst>
              <a:ext uri="{FF2B5EF4-FFF2-40B4-BE49-F238E27FC236}">
                <a16:creationId xmlns:a16="http://schemas.microsoft.com/office/drawing/2014/main" id="{E75E755B-551F-41D2-BD2E-92EB287673E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479022" y="4804031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60A8A25-6B12-4703-83EF-E18353DE132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481823" y="5119019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1AADA4C3-E6F3-4B58-92B3-3612A9D8612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473979" y="4809442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A53B84E-7A43-40E1-A41F-784C475CCE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476780" y="5124430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6276DCB-98B4-4B48-A68D-91F554255343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F468FF0-8FEB-42CF-9416-596AA5896A06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19A9F7E-2D71-4F94-8040-2D1E6EFAD6A0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9CCA70D-E76E-4E9E-B7C5-57DE3F9CD704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96901461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creen Mock 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11C2339C-4F0F-4229-868D-EA06EE2ABB4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871" y="3731820"/>
            <a:ext cx="2432289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968167E-03C0-40CB-A0AA-D4B01F77458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4672" y="4046808"/>
            <a:ext cx="2436618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1AADA4C3-E6F3-4B58-92B3-3612A9D8612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588759" y="3742642"/>
            <a:ext cx="2504440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A53B84E-7A43-40E1-A41F-784C475CCE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591764" y="4057630"/>
            <a:ext cx="2508898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A6DD89D5-9351-401E-8801-E9E0619F7C6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916043" y="1929192"/>
            <a:ext cx="4293295" cy="270884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ress the icon to add a picture</a:t>
            </a:r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F82B3E85-BA15-4769-B721-60401C1237F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4672" y="5094225"/>
            <a:ext cx="2432289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622973B-EB21-493F-AC5A-FC6B237E72B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77473" y="5409213"/>
            <a:ext cx="2436618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Marcador de texto 3">
            <a:extLst>
              <a:ext uri="{FF2B5EF4-FFF2-40B4-BE49-F238E27FC236}">
                <a16:creationId xmlns:a16="http://schemas.microsoft.com/office/drawing/2014/main" id="{EF97F695-D66E-4518-9D4E-8D483A4B0A4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591560" y="5105047"/>
            <a:ext cx="2504440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8D347E31-039D-430D-8B72-0FC485788C6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594565" y="5420035"/>
            <a:ext cx="2508898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Marcador de texto 2">
            <a:extLst>
              <a:ext uri="{FF2B5EF4-FFF2-40B4-BE49-F238E27FC236}">
                <a16:creationId xmlns:a16="http://schemas.microsoft.com/office/drawing/2014/main" id="{85FC4A55-CAFB-4125-9A84-91BA6BAAD73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70517" y="722639"/>
            <a:ext cx="11450007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3" name="Title 8">
            <a:extLst>
              <a:ext uri="{FF2B5EF4-FFF2-40B4-BE49-F238E27FC236}">
                <a16:creationId xmlns:a16="http://schemas.microsoft.com/office/drawing/2014/main" id="{AECD8FAC-3AF3-43EB-BC98-7AF716BD2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517" y="252000"/>
            <a:ext cx="11450007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E18B091A-F5A5-48BA-9498-2B9DADC9E44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1475" y="1399564"/>
            <a:ext cx="5724525" cy="1738656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22A22CA-A59E-43A1-BDD5-0E749668308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0130961-FC0F-408F-8206-4FA9B9CFCADD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9A64599-9E1E-4B1A-A332-A4C0FEC21997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911A4A3-9068-4D45-B1AA-B018463FD469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778904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v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43958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16200000" scaled="1"/>
          </a:gra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CuadroTexto 64">
            <a:extLst>
              <a:ext uri="{FF2B5EF4-FFF2-40B4-BE49-F238E27FC236}">
                <a16:creationId xmlns:a16="http://schemas.microsoft.com/office/drawing/2014/main" id="{BF62935D-CD44-4AD8-8E70-8E658A45D5CA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ítulo 1">
            <a:extLst>
              <a:ext uri="{FF2B5EF4-FFF2-40B4-BE49-F238E27FC236}">
                <a16:creationId xmlns:a16="http://schemas.microsoft.com/office/drawing/2014/main" id="{D7D82C40-0E38-4916-A8E6-6F79691B36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65874" y="3463482"/>
            <a:ext cx="10261600" cy="553998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defRPr sz="3600" b="0">
                <a:solidFill>
                  <a:schemeClr val="bg1"/>
                </a:solidFill>
                <a:latin typeface="+mn-lt"/>
              </a:defRPr>
            </a:lvl1pPr>
          </a:lstStyle>
          <a:p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083BCE-E4A9-44F7-B19A-085C87DAFD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65874" y="6045199"/>
            <a:ext cx="10261600" cy="360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00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Sourc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BC8C59-3BFA-4463-A730-C3619E962F5A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882D3B5-8179-4C26-AF37-E7B0C355FB7A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C1860E-14DF-4D88-A6C6-32A8565188A3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1BD4D62-7BE1-4207-8E9E-571DC561B7DD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7220346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creen Mock 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11C2339C-4F0F-4229-868D-EA06EE2ABB4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871" y="4627196"/>
            <a:ext cx="2432289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1AADA4C3-E6F3-4B58-92B3-3612A9D8612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310087" y="4638018"/>
            <a:ext cx="2504440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F82B3E85-BA15-4769-B721-60401C1237F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4672" y="5789576"/>
            <a:ext cx="2432289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30" name="Marcador de texto 3">
            <a:extLst>
              <a:ext uri="{FF2B5EF4-FFF2-40B4-BE49-F238E27FC236}">
                <a16:creationId xmlns:a16="http://schemas.microsoft.com/office/drawing/2014/main" id="{EF97F695-D66E-4518-9D4E-8D483A4B0A4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312888" y="5800398"/>
            <a:ext cx="2504440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32" name="Marcador de texto 2">
            <a:extLst>
              <a:ext uri="{FF2B5EF4-FFF2-40B4-BE49-F238E27FC236}">
                <a16:creationId xmlns:a16="http://schemas.microsoft.com/office/drawing/2014/main" id="{85FC4A55-CAFB-4125-9A84-91BA6BAAD73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70517" y="722639"/>
            <a:ext cx="11450007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3" name="Title 8">
            <a:extLst>
              <a:ext uri="{FF2B5EF4-FFF2-40B4-BE49-F238E27FC236}">
                <a16:creationId xmlns:a16="http://schemas.microsoft.com/office/drawing/2014/main" id="{AECD8FAC-3AF3-43EB-BC98-7AF716BD2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517" y="252000"/>
            <a:ext cx="11450007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E18B091A-F5A5-48BA-9498-2B9DADC9E44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1475" y="1399564"/>
            <a:ext cx="11449049" cy="1237274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59A96C03-4158-458D-8652-890E50F8BBE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77869" y="3448902"/>
            <a:ext cx="2432289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7" name="Marcador de texto 3">
            <a:extLst>
              <a:ext uri="{FF2B5EF4-FFF2-40B4-BE49-F238E27FC236}">
                <a16:creationId xmlns:a16="http://schemas.microsoft.com/office/drawing/2014/main" id="{52C1C7B7-D568-4B6F-BB4C-4BBC03CD2D5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9316085" y="3459724"/>
            <a:ext cx="2504440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1" name="Picture Placeholder 27">
            <a:extLst>
              <a:ext uri="{FF2B5EF4-FFF2-40B4-BE49-F238E27FC236}">
                <a16:creationId xmlns:a16="http://schemas.microsoft.com/office/drawing/2014/main" id="{6ACEBDA2-4AFD-4B02-8924-6168C184C44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995073" y="3759141"/>
            <a:ext cx="4188808" cy="3100340"/>
          </a:xfr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ress the icon to add a picture</a:t>
            </a:r>
          </a:p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C20BBD9-A5E0-44AB-AC5F-E2A7B2480C0B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7A1BB1-95EC-4C96-8312-70F030F08C45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DBB2C6-0F37-45B8-98D0-7DE9E3A6012B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873937B-C3E2-419E-B52C-EFB082FC1D4B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11775531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bg>
      <p:bgPr>
        <a:gradFill>
          <a:gsLst>
            <a:gs pos="0">
              <a:schemeClr val="accent1"/>
            </a:gs>
            <a:gs pos="100000">
              <a:schemeClr val="accent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6EEC91-FAE8-4ABD-9FB4-C659BE817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78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6EEC91-FAE8-4ABD-9FB4-C659BE817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ítulo 1">
            <a:extLst>
              <a:ext uri="{FF2B5EF4-FFF2-40B4-BE49-F238E27FC236}">
                <a16:creationId xmlns:a16="http://schemas.microsoft.com/office/drawing/2014/main" id="{5AA3C8B9-7162-4D6C-AA6C-7DFFC38AFC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27496"/>
            <a:ext cx="9144000" cy="677108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4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es-E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E16D09-B50F-49D3-9890-32CDE491179B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8077B31-7589-4F46-8022-30057D5345F2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619344-FE0F-44CA-9811-7CDC969750D5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C95EE11-5D93-48EA-AB2A-C71B3C6FC35F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50302221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with COntac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11C2339C-4F0F-4229-868D-EA06EE2ABB4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931898" y="2136122"/>
            <a:ext cx="3161302" cy="320399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8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968167E-03C0-40CB-A0AA-D4B01F77458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934698" y="2472883"/>
            <a:ext cx="3166928" cy="361949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Marcador de texto 2">
            <a:extLst>
              <a:ext uri="{FF2B5EF4-FFF2-40B4-BE49-F238E27FC236}">
                <a16:creationId xmlns:a16="http://schemas.microsoft.com/office/drawing/2014/main" id="{85FC4A55-CAFB-4125-9A84-91BA6BAAD73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70517" y="722639"/>
            <a:ext cx="11450007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3" name="Title 8">
            <a:extLst>
              <a:ext uri="{FF2B5EF4-FFF2-40B4-BE49-F238E27FC236}">
                <a16:creationId xmlns:a16="http://schemas.microsoft.com/office/drawing/2014/main" id="{AECD8FAC-3AF3-43EB-BC98-7AF716BD2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517" y="252000"/>
            <a:ext cx="11450007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22A22CA-A59E-43A1-BDD5-0E749668308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0130961-FC0F-408F-8206-4FA9B9CFCADD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9A64599-9E1E-4B1A-A332-A4C0FEC21997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911A4A3-9068-4D45-B1AA-B018463FD469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ángulo 1">
            <a:extLst>
              <a:ext uri="{FF2B5EF4-FFF2-40B4-BE49-F238E27FC236}">
                <a16:creationId xmlns:a16="http://schemas.microsoft.com/office/drawing/2014/main" id="{FDCEEA5F-15DA-47AD-BA15-4F01CD0CD14E}"/>
              </a:ext>
            </a:extLst>
          </p:cNvPr>
          <p:cNvSpPr/>
          <p:nvPr userDrawn="1"/>
        </p:nvSpPr>
        <p:spPr>
          <a:xfrm>
            <a:off x="6547911" y="-5081"/>
            <a:ext cx="5669541" cy="6872077"/>
          </a:xfrm>
          <a:custGeom>
            <a:avLst/>
            <a:gdLst>
              <a:gd name="connsiteX0" fmla="*/ 0 w 3267919"/>
              <a:gd name="connsiteY0" fmla="*/ 0 h 6858000"/>
              <a:gd name="connsiteX1" fmla="*/ 3267919 w 3267919"/>
              <a:gd name="connsiteY1" fmla="*/ 0 h 6858000"/>
              <a:gd name="connsiteX2" fmla="*/ 3267919 w 3267919"/>
              <a:gd name="connsiteY2" fmla="*/ 6858000 h 6858000"/>
              <a:gd name="connsiteX3" fmla="*/ 0 w 3267919"/>
              <a:gd name="connsiteY3" fmla="*/ 6858000 h 6858000"/>
              <a:gd name="connsiteX4" fmla="*/ 0 w 3267919"/>
              <a:gd name="connsiteY4" fmla="*/ 0 h 6858000"/>
              <a:gd name="connsiteX0" fmla="*/ 2835797 w 6103716"/>
              <a:gd name="connsiteY0" fmla="*/ 0 h 6858000"/>
              <a:gd name="connsiteX1" fmla="*/ 6103716 w 6103716"/>
              <a:gd name="connsiteY1" fmla="*/ 0 h 6858000"/>
              <a:gd name="connsiteX2" fmla="*/ 6103716 w 6103716"/>
              <a:gd name="connsiteY2" fmla="*/ 6858000 h 6858000"/>
              <a:gd name="connsiteX3" fmla="*/ 0 w 6103716"/>
              <a:gd name="connsiteY3" fmla="*/ 6858000 h 6858000"/>
              <a:gd name="connsiteX4" fmla="*/ 2835797 w 6103716"/>
              <a:gd name="connsiteY4" fmla="*/ 0 h 6858000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6103716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7232248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6983416"/>
              <a:gd name="connsiteY0" fmla="*/ 0 h 6863788"/>
              <a:gd name="connsiteX1" fmla="*/ 5148805 w 6983416"/>
              <a:gd name="connsiteY1" fmla="*/ 0 h 6863788"/>
              <a:gd name="connsiteX2" fmla="*/ 6983392 w 6983416"/>
              <a:gd name="connsiteY2" fmla="*/ 6858000 h 6863788"/>
              <a:gd name="connsiteX3" fmla="*/ 0 w 6983416"/>
              <a:gd name="connsiteY3" fmla="*/ 6863788 h 6863788"/>
              <a:gd name="connsiteX4" fmla="*/ 2586941 w 6983416"/>
              <a:gd name="connsiteY4" fmla="*/ 0 h 6863788"/>
              <a:gd name="connsiteX0" fmla="*/ 2586941 w 6983421"/>
              <a:gd name="connsiteY0" fmla="*/ 0 h 6863788"/>
              <a:gd name="connsiteX1" fmla="*/ 5513407 w 6983421"/>
              <a:gd name="connsiteY1" fmla="*/ 0 h 6863788"/>
              <a:gd name="connsiteX2" fmla="*/ 6983392 w 6983421"/>
              <a:gd name="connsiteY2" fmla="*/ 6858000 h 6863788"/>
              <a:gd name="connsiteX3" fmla="*/ 0 w 6983421"/>
              <a:gd name="connsiteY3" fmla="*/ 6863788 h 6863788"/>
              <a:gd name="connsiteX4" fmla="*/ 2586941 w 6983421"/>
              <a:gd name="connsiteY4" fmla="*/ 0 h 6863788"/>
              <a:gd name="connsiteX0" fmla="*/ 2586941 w 5513407"/>
              <a:gd name="connsiteY0" fmla="*/ 0 h 6869575"/>
              <a:gd name="connsiteX1" fmla="*/ 5513407 w 5513407"/>
              <a:gd name="connsiteY1" fmla="*/ 0 h 6869575"/>
              <a:gd name="connsiteX2" fmla="*/ 5183529 w 5513407"/>
              <a:gd name="connsiteY2" fmla="*/ 6869575 h 6869575"/>
              <a:gd name="connsiteX3" fmla="*/ 0 w 5513407"/>
              <a:gd name="connsiteY3" fmla="*/ 6863788 h 6869575"/>
              <a:gd name="connsiteX4" fmla="*/ 2586941 w 5513407"/>
              <a:gd name="connsiteY4" fmla="*/ 0 h 6869575"/>
              <a:gd name="connsiteX0" fmla="*/ 2586941 w 5513407"/>
              <a:gd name="connsiteY0" fmla="*/ 0 h 6863788"/>
              <a:gd name="connsiteX1" fmla="*/ 5513407 w 5513407"/>
              <a:gd name="connsiteY1" fmla="*/ 0 h 6863788"/>
              <a:gd name="connsiteX2" fmla="*/ 5496045 w 5513407"/>
              <a:gd name="connsiteY2" fmla="*/ 6829064 h 6863788"/>
              <a:gd name="connsiteX3" fmla="*/ 0 w 5513407"/>
              <a:gd name="connsiteY3" fmla="*/ 6863788 h 6863788"/>
              <a:gd name="connsiteX4" fmla="*/ 2586941 w 5513407"/>
              <a:gd name="connsiteY4" fmla="*/ 0 h 6863788"/>
              <a:gd name="connsiteX0" fmla="*/ 2586941 w 5520913"/>
              <a:gd name="connsiteY0" fmla="*/ 0 h 6863788"/>
              <a:gd name="connsiteX1" fmla="*/ 5513407 w 5520913"/>
              <a:gd name="connsiteY1" fmla="*/ 0 h 6863788"/>
              <a:gd name="connsiteX2" fmla="*/ 5519195 w 5520913"/>
              <a:gd name="connsiteY2" fmla="*/ 6840638 h 6863788"/>
              <a:gd name="connsiteX3" fmla="*/ 0 w 5520913"/>
              <a:gd name="connsiteY3" fmla="*/ 6863788 h 6863788"/>
              <a:gd name="connsiteX4" fmla="*/ 2586941 w 5520913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52723 w 5509031"/>
              <a:gd name="connsiteY0" fmla="*/ 0 h 6852213"/>
              <a:gd name="connsiteX1" fmla="*/ 5479189 w 5509031"/>
              <a:gd name="connsiteY1" fmla="*/ 0 h 6852213"/>
              <a:gd name="connsiteX2" fmla="*/ 5508126 w 5509031"/>
              <a:gd name="connsiteY2" fmla="*/ 6852213 h 6852213"/>
              <a:gd name="connsiteX3" fmla="*/ 0 w 5509031"/>
              <a:gd name="connsiteY3" fmla="*/ 6789649 h 6852213"/>
              <a:gd name="connsiteX4" fmla="*/ 2552723 w 5509031"/>
              <a:gd name="connsiteY4" fmla="*/ 0 h 6852213"/>
              <a:gd name="connsiteX0" fmla="*/ 2552723 w 5494413"/>
              <a:gd name="connsiteY0" fmla="*/ 0 h 6789649"/>
              <a:gd name="connsiteX1" fmla="*/ 5479189 w 5494413"/>
              <a:gd name="connsiteY1" fmla="*/ 0 h 6789649"/>
              <a:gd name="connsiteX2" fmla="*/ 5493109 w 5494413"/>
              <a:gd name="connsiteY2" fmla="*/ 6606924 h 6789649"/>
              <a:gd name="connsiteX3" fmla="*/ 0 w 5494413"/>
              <a:gd name="connsiteY3" fmla="*/ 6789649 h 6789649"/>
              <a:gd name="connsiteX4" fmla="*/ 2552723 w 5494413"/>
              <a:gd name="connsiteY4" fmla="*/ 0 h 6789649"/>
              <a:gd name="connsiteX0" fmla="*/ 2552723 w 5479189"/>
              <a:gd name="connsiteY0" fmla="*/ 0 h 6789649"/>
              <a:gd name="connsiteX1" fmla="*/ 5479189 w 5479189"/>
              <a:gd name="connsiteY1" fmla="*/ 0 h 6789649"/>
              <a:gd name="connsiteX2" fmla="*/ 5433038 w 5479189"/>
              <a:gd name="connsiteY2" fmla="*/ 6757102 h 6789649"/>
              <a:gd name="connsiteX3" fmla="*/ 0 w 5479189"/>
              <a:gd name="connsiteY3" fmla="*/ 6789649 h 6789649"/>
              <a:gd name="connsiteX4" fmla="*/ 2552723 w 5479189"/>
              <a:gd name="connsiteY4" fmla="*/ 0 h 6789649"/>
              <a:gd name="connsiteX0" fmla="*/ 2552723 w 6003412"/>
              <a:gd name="connsiteY0" fmla="*/ 0 h 6789649"/>
              <a:gd name="connsiteX1" fmla="*/ 5479189 w 6003412"/>
              <a:gd name="connsiteY1" fmla="*/ 0 h 6789649"/>
              <a:gd name="connsiteX2" fmla="*/ 6003331 w 6003412"/>
              <a:gd name="connsiteY2" fmla="*/ 6762805 h 6789649"/>
              <a:gd name="connsiteX3" fmla="*/ 0 w 6003412"/>
              <a:gd name="connsiteY3" fmla="*/ 6789649 h 6789649"/>
              <a:gd name="connsiteX4" fmla="*/ 2552723 w 6003412"/>
              <a:gd name="connsiteY4" fmla="*/ 0 h 6789649"/>
              <a:gd name="connsiteX0" fmla="*/ 2564128 w 6014817"/>
              <a:gd name="connsiteY0" fmla="*/ 0 h 6766838"/>
              <a:gd name="connsiteX1" fmla="*/ 5490594 w 6014817"/>
              <a:gd name="connsiteY1" fmla="*/ 0 h 6766838"/>
              <a:gd name="connsiteX2" fmla="*/ 6014736 w 6014817"/>
              <a:gd name="connsiteY2" fmla="*/ 6762805 h 6766838"/>
              <a:gd name="connsiteX3" fmla="*/ 0 w 6014817"/>
              <a:gd name="connsiteY3" fmla="*/ 6766838 h 6766838"/>
              <a:gd name="connsiteX4" fmla="*/ 2564128 w 6014817"/>
              <a:gd name="connsiteY4" fmla="*/ 0 h 6766838"/>
              <a:gd name="connsiteX0" fmla="*/ 2564128 w 6020966"/>
              <a:gd name="connsiteY0" fmla="*/ 0 h 6766838"/>
              <a:gd name="connsiteX1" fmla="*/ 6020966 w 6020966"/>
              <a:gd name="connsiteY1" fmla="*/ 0 h 6766838"/>
              <a:gd name="connsiteX2" fmla="*/ 6014736 w 6020966"/>
              <a:gd name="connsiteY2" fmla="*/ 6762805 h 6766838"/>
              <a:gd name="connsiteX3" fmla="*/ 0 w 6020966"/>
              <a:gd name="connsiteY3" fmla="*/ 6766838 h 6766838"/>
              <a:gd name="connsiteX4" fmla="*/ 2564128 w 6020966"/>
              <a:gd name="connsiteY4" fmla="*/ 0 h 6766838"/>
              <a:gd name="connsiteX0" fmla="*/ 2564128 w 6022729"/>
              <a:gd name="connsiteY0" fmla="*/ 0 h 6766838"/>
              <a:gd name="connsiteX1" fmla="*/ 6020966 w 6022729"/>
              <a:gd name="connsiteY1" fmla="*/ 0 h 6766838"/>
              <a:gd name="connsiteX2" fmla="*/ 6020440 w 6022729"/>
              <a:gd name="connsiteY2" fmla="*/ 6757103 h 6766838"/>
              <a:gd name="connsiteX3" fmla="*/ 0 w 6022729"/>
              <a:gd name="connsiteY3" fmla="*/ 6766838 h 6766838"/>
              <a:gd name="connsiteX4" fmla="*/ 2564128 w 6022729"/>
              <a:gd name="connsiteY4" fmla="*/ 0 h 6766838"/>
              <a:gd name="connsiteX0" fmla="*/ 2564128 w 6020537"/>
              <a:gd name="connsiteY0" fmla="*/ 0 h 6766838"/>
              <a:gd name="connsiteX1" fmla="*/ 5581840 w 6020537"/>
              <a:gd name="connsiteY1" fmla="*/ 0 h 6766838"/>
              <a:gd name="connsiteX2" fmla="*/ 6020440 w 6020537"/>
              <a:gd name="connsiteY2" fmla="*/ 6757103 h 6766838"/>
              <a:gd name="connsiteX3" fmla="*/ 0 w 6020537"/>
              <a:gd name="connsiteY3" fmla="*/ 6766838 h 6766838"/>
              <a:gd name="connsiteX4" fmla="*/ 2564128 w 6020537"/>
              <a:gd name="connsiteY4" fmla="*/ 0 h 6766838"/>
              <a:gd name="connsiteX0" fmla="*/ 2564128 w 5581840"/>
              <a:gd name="connsiteY0" fmla="*/ 0 h 6768508"/>
              <a:gd name="connsiteX1" fmla="*/ 5581840 w 5581840"/>
              <a:gd name="connsiteY1" fmla="*/ 0 h 6768508"/>
              <a:gd name="connsiteX2" fmla="*/ 5147893 w 5581840"/>
              <a:gd name="connsiteY2" fmla="*/ 6768508 h 6768508"/>
              <a:gd name="connsiteX3" fmla="*/ 0 w 5581840"/>
              <a:gd name="connsiteY3" fmla="*/ 6766838 h 6768508"/>
              <a:gd name="connsiteX4" fmla="*/ 2564128 w 5581840"/>
              <a:gd name="connsiteY4" fmla="*/ 0 h 6768508"/>
              <a:gd name="connsiteX0" fmla="*/ 2564128 w 5581840"/>
              <a:gd name="connsiteY0" fmla="*/ 0 h 6766838"/>
              <a:gd name="connsiteX1" fmla="*/ 5581840 w 5581840"/>
              <a:gd name="connsiteY1" fmla="*/ 0 h 6766838"/>
              <a:gd name="connsiteX2" fmla="*/ 5569910 w 5581840"/>
              <a:gd name="connsiteY2" fmla="*/ 6757103 h 6766838"/>
              <a:gd name="connsiteX3" fmla="*/ 0 w 5581840"/>
              <a:gd name="connsiteY3" fmla="*/ 6766838 h 6766838"/>
              <a:gd name="connsiteX4" fmla="*/ 2564128 w 5581840"/>
              <a:gd name="connsiteY4" fmla="*/ 0 h 6766838"/>
              <a:gd name="connsiteX0" fmla="*/ 2564128 w 5586846"/>
              <a:gd name="connsiteY0" fmla="*/ 5006 h 6771844"/>
              <a:gd name="connsiteX1" fmla="*/ 5586846 w 5586846"/>
              <a:gd name="connsiteY1" fmla="*/ 0 h 6771844"/>
              <a:gd name="connsiteX2" fmla="*/ 5569910 w 5586846"/>
              <a:gd name="connsiteY2" fmla="*/ 6762109 h 6771844"/>
              <a:gd name="connsiteX3" fmla="*/ 0 w 5586846"/>
              <a:gd name="connsiteY3" fmla="*/ 6771844 h 6771844"/>
              <a:gd name="connsiteX4" fmla="*/ 2564128 w 5586846"/>
              <a:gd name="connsiteY4" fmla="*/ 5006 h 6771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86846" h="6771844">
                <a:moveTo>
                  <a:pt x="2564128" y="5006"/>
                </a:moveTo>
                <a:lnTo>
                  <a:pt x="5586846" y="0"/>
                </a:lnTo>
                <a:cubicBezTo>
                  <a:pt x="5579130" y="2287929"/>
                  <a:pt x="5577626" y="4474180"/>
                  <a:pt x="5569910" y="6762109"/>
                </a:cubicBezTo>
                <a:lnTo>
                  <a:pt x="0" y="6771844"/>
                </a:lnTo>
                <a:lnTo>
                  <a:pt x="2564128" y="5006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2E22CC52-2F7D-456F-8105-9ED037B9BFE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400973" y="2133541"/>
            <a:ext cx="2253327" cy="219715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3303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with Contact">
    <p:bg>
      <p:bgPr>
        <a:gradFill>
          <a:gsLst>
            <a:gs pos="0">
              <a:schemeClr val="accent1"/>
            </a:gs>
            <a:gs pos="100000">
              <a:schemeClr val="accent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6EEC91-FAE8-4ABD-9FB4-C659BE817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102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6EEC91-FAE8-4ABD-9FB4-C659BE817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>
            <a:extLst>
              <a:ext uri="{FF2B5EF4-FFF2-40B4-BE49-F238E27FC236}">
                <a16:creationId xmlns:a16="http://schemas.microsoft.com/office/drawing/2014/main" id="{588F6A14-7494-EC4A-867C-864E07DD2DF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500" y="532355"/>
            <a:ext cx="2412941" cy="591595"/>
          </a:xfrm>
          <a:prstGeom prst="rect">
            <a:avLst/>
          </a:prstGeom>
        </p:spPr>
      </p:pic>
      <p:sp>
        <p:nvSpPr>
          <p:cNvPr id="16" name="Título 1">
            <a:extLst>
              <a:ext uri="{FF2B5EF4-FFF2-40B4-BE49-F238E27FC236}">
                <a16:creationId xmlns:a16="http://schemas.microsoft.com/office/drawing/2014/main" id="{5AA3C8B9-7162-4D6C-AA6C-7DFFC38AFC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27496"/>
            <a:ext cx="9144000" cy="677108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4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es-E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E16D09-B50F-49D3-9890-32CDE491179B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8077B31-7589-4F46-8022-30057D5345F2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619344-FE0F-44CA-9811-7CDC969750D5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C95EE11-5D93-48EA-AB2A-C71B3C6FC35F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Marcador de texto 3">
            <a:extLst>
              <a:ext uri="{FF2B5EF4-FFF2-40B4-BE49-F238E27FC236}">
                <a16:creationId xmlns:a16="http://schemas.microsoft.com/office/drawing/2014/main" id="{A6DEB12D-B8CE-43E3-A309-C6B6E6120E5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03724" y="4094081"/>
            <a:ext cx="3384551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ontact nam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E83DBF4-3F90-4FD2-9D2C-B89826114A5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07027" y="4352767"/>
            <a:ext cx="3390575" cy="361949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</a:t>
            </a:r>
          </a:p>
        </p:txBody>
      </p:sp>
    </p:spTree>
    <p:extLst>
      <p:ext uri="{BB962C8B-B14F-4D97-AF65-F5344CB8AC3E}">
        <p14:creationId xmlns:p14="http://schemas.microsoft.com/office/powerpoint/2010/main" val="352636146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Squar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53197D87-B69C-4450-865B-2A4A9340651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858000"/>
          </a:xfrm>
          <a:prstGeom prst="rect">
            <a:avLst/>
          </a:prstGeom>
          <a:noFill/>
        </p:spPr>
        <p:txBody>
          <a:bodyPr anchor="t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Houschka Head Medium" panose="020F0603020000020003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Houschka Head Medium" panose="020F0603020000020003" pitchFamily="34" charset="0"/>
              <a:buNone/>
              <a:tabLst/>
              <a:defRPr/>
            </a:pPr>
            <a:endParaRPr lang="en-US" noProof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CAC41A40-ADF4-4648-BCCA-95249031F016}"/>
              </a:ext>
            </a:extLst>
          </p:cNvPr>
          <p:cNvSpPr txBox="1"/>
          <p:nvPr userDrawn="1"/>
        </p:nvSpPr>
        <p:spPr>
          <a:xfrm>
            <a:off x="11349037" y="6449284"/>
            <a:ext cx="46947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n-US" sz="900" b="0" noProof="0" smtClean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pPr algn="r"/>
              <a:t>‹#›</a:t>
            </a:fld>
            <a:endParaRPr lang="en-US" sz="900" b="0" noProof="0">
              <a:solidFill>
                <a:schemeClr val="accent1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902BB70F-0324-4BA6-A25E-F31DAF8842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464301" y="722639"/>
            <a:ext cx="5356222" cy="324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en-US" sz="2000" noProof="0" dirty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EE598388-AA60-4CD5-88CD-A1BC211D4C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4301" y="218346"/>
            <a:ext cx="5356224" cy="432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8765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>
        <p14:prism isContent="1"/>
      </p:transition>
    </mc:Choice>
    <mc:Fallback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2516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9" name="Marcador de posición de imagen 2">
            <a:extLst>
              <a:ext uri="{FF2B5EF4-FFF2-40B4-BE49-F238E27FC236}">
                <a16:creationId xmlns:a16="http://schemas.microsoft.com/office/drawing/2014/main" id="{31CC0BB2-D270-45FA-B36D-7DA74555A1C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CuadroTexto 64">
            <a:extLst>
              <a:ext uri="{FF2B5EF4-FFF2-40B4-BE49-F238E27FC236}">
                <a16:creationId xmlns:a16="http://schemas.microsoft.com/office/drawing/2014/main" id="{A837BAC7-8936-49B2-AA16-4D8D20EFE2F7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CuadroTexto 64">
            <a:extLst>
              <a:ext uri="{FF2B5EF4-FFF2-40B4-BE49-F238E27FC236}">
                <a16:creationId xmlns:a16="http://schemas.microsoft.com/office/drawing/2014/main" id="{6D9740EA-CDAD-4A7D-AE29-2A54AF22C3DE}"/>
              </a:ext>
            </a:extLst>
          </p:cNvPr>
          <p:cNvSpPr txBox="1"/>
          <p:nvPr userDrawn="1"/>
        </p:nvSpPr>
        <p:spPr>
          <a:xfrm>
            <a:off x="10878986" y="6452363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5227E7B1-E64E-4361-8C90-AF5798192F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1822" y="2561095"/>
            <a:ext cx="5333377" cy="432000"/>
          </a:xfrm>
        </p:spPr>
        <p:txBody>
          <a:bodyPr/>
          <a:lstStyle>
            <a:lvl1pPr algn="ctr">
              <a:defRPr b="0"/>
            </a:lvl1pPr>
          </a:lstStyle>
          <a:p>
            <a:r>
              <a:rPr lang="en-US"/>
              <a:t>Quote her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B4A3C47-8BF5-4E1C-B387-76F2FF1A261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81822" y="2993095"/>
            <a:ext cx="5333377" cy="432000"/>
          </a:xfrm>
          <a:prstGeom prst="rect">
            <a:avLst/>
          </a:prstGeom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E689FA1-ED57-4DE7-AD72-44501952A3A7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D21606-4344-4432-AC59-03FC4004F02E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C38A49-1DF9-419A-8DDC-4FD8111EA738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FABE439-925F-4BB0-8FB8-6BE3D6426232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8" name="Freeform: Shape 629">
            <a:extLst>
              <a:ext uri="{FF2B5EF4-FFF2-40B4-BE49-F238E27FC236}">
                <a16:creationId xmlns:a16="http://schemas.microsoft.com/office/drawing/2014/main" id="{6321973C-FA18-4EB3-9F17-33B192A988F7}"/>
              </a:ext>
            </a:extLst>
          </p:cNvPr>
          <p:cNvSpPr/>
          <p:nvPr userDrawn="1"/>
        </p:nvSpPr>
        <p:spPr>
          <a:xfrm>
            <a:off x="8851012" y="1518720"/>
            <a:ext cx="594995" cy="591616"/>
          </a:xfrm>
          <a:custGeom>
            <a:avLst/>
            <a:gdLst>
              <a:gd name="connsiteX0" fmla="*/ 113583 w 151443"/>
              <a:gd name="connsiteY0" fmla="*/ 67978 h 150583"/>
              <a:gd name="connsiteX1" fmla="*/ 113583 w 151443"/>
              <a:gd name="connsiteY1" fmla="*/ 52489 h 150583"/>
              <a:gd name="connsiteX2" fmla="*/ 98095 w 151443"/>
              <a:gd name="connsiteY2" fmla="*/ 52489 h 150583"/>
              <a:gd name="connsiteX3" fmla="*/ 98095 w 151443"/>
              <a:gd name="connsiteY3" fmla="*/ 67978 h 150583"/>
              <a:gd name="connsiteX4" fmla="*/ 113583 w 151443"/>
              <a:gd name="connsiteY4" fmla="*/ 67978 h 150583"/>
              <a:gd name="connsiteX5" fmla="*/ 83466 w 151443"/>
              <a:gd name="connsiteY5" fmla="*/ 67978 h 150583"/>
              <a:gd name="connsiteX6" fmla="*/ 83466 w 151443"/>
              <a:gd name="connsiteY6" fmla="*/ 52489 h 150583"/>
              <a:gd name="connsiteX7" fmla="*/ 68838 w 151443"/>
              <a:gd name="connsiteY7" fmla="*/ 52489 h 150583"/>
              <a:gd name="connsiteX8" fmla="*/ 68838 w 151443"/>
              <a:gd name="connsiteY8" fmla="*/ 67978 h 150583"/>
              <a:gd name="connsiteX9" fmla="*/ 83466 w 151443"/>
              <a:gd name="connsiteY9" fmla="*/ 67978 h 150583"/>
              <a:gd name="connsiteX10" fmla="*/ 53349 w 151443"/>
              <a:gd name="connsiteY10" fmla="*/ 67978 h 150583"/>
              <a:gd name="connsiteX11" fmla="*/ 53349 w 151443"/>
              <a:gd name="connsiteY11" fmla="*/ 52489 h 150583"/>
              <a:gd name="connsiteX12" fmla="*/ 37861 w 151443"/>
              <a:gd name="connsiteY12" fmla="*/ 52489 h 150583"/>
              <a:gd name="connsiteX13" fmla="*/ 37861 w 151443"/>
              <a:gd name="connsiteY13" fmla="*/ 67978 h 150583"/>
              <a:gd name="connsiteX14" fmla="*/ 53349 w 151443"/>
              <a:gd name="connsiteY14" fmla="*/ 67978 h 150583"/>
              <a:gd name="connsiteX15" fmla="*/ 136816 w 151443"/>
              <a:gd name="connsiteY15" fmla="*/ 0 h 150583"/>
              <a:gd name="connsiteX16" fmla="*/ 147141 w 151443"/>
              <a:gd name="connsiteY16" fmla="*/ 4302 h 150583"/>
              <a:gd name="connsiteX17" fmla="*/ 151444 w 151443"/>
              <a:gd name="connsiteY17" fmla="*/ 14628 h 150583"/>
              <a:gd name="connsiteX18" fmla="*/ 151444 w 151443"/>
              <a:gd name="connsiteY18" fmla="*/ 105839 h 150583"/>
              <a:gd name="connsiteX19" fmla="*/ 147141 w 151443"/>
              <a:gd name="connsiteY19" fmla="*/ 116164 h 150583"/>
              <a:gd name="connsiteX20" fmla="*/ 136816 w 151443"/>
              <a:gd name="connsiteY20" fmla="*/ 120467 h 150583"/>
              <a:gd name="connsiteX21" fmla="*/ 30117 w 151443"/>
              <a:gd name="connsiteY21" fmla="*/ 120467 h 150583"/>
              <a:gd name="connsiteX22" fmla="*/ 0 w 151443"/>
              <a:gd name="connsiteY22" fmla="*/ 150583 h 150583"/>
              <a:gd name="connsiteX23" fmla="*/ 0 w 151443"/>
              <a:gd name="connsiteY23" fmla="*/ 14628 h 150583"/>
              <a:gd name="connsiteX24" fmla="*/ 4302 w 151443"/>
              <a:gd name="connsiteY24" fmla="*/ 4302 h 150583"/>
              <a:gd name="connsiteX25" fmla="*/ 14628 w 151443"/>
              <a:gd name="connsiteY25" fmla="*/ 0 h 150583"/>
              <a:gd name="connsiteX26" fmla="*/ 136816 w 151443"/>
              <a:gd name="connsiteY26" fmla="*/ 0 h 150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51443" h="150583">
                <a:moveTo>
                  <a:pt x="113583" y="67978"/>
                </a:moveTo>
                <a:lnTo>
                  <a:pt x="113583" y="52489"/>
                </a:lnTo>
                <a:lnTo>
                  <a:pt x="98095" y="52489"/>
                </a:lnTo>
                <a:lnTo>
                  <a:pt x="98095" y="67978"/>
                </a:lnTo>
                <a:lnTo>
                  <a:pt x="113583" y="67978"/>
                </a:lnTo>
                <a:close/>
                <a:moveTo>
                  <a:pt x="83466" y="67978"/>
                </a:moveTo>
                <a:lnTo>
                  <a:pt x="83466" y="52489"/>
                </a:lnTo>
                <a:lnTo>
                  <a:pt x="68838" y="52489"/>
                </a:lnTo>
                <a:lnTo>
                  <a:pt x="68838" y="67978"/>
                </a:lnTo>
                <a:lnTo>
                  <a:pt x="83466" y="67978"/>
                </a:lnTo>
                <a:close/>
                <a:moveTo>
                  <a:pt x="53349" y="67978"/>
                </a:moveTo>
                <a:lnTo>
                  <a:pt x="53349" y="52489"/>
                </a:lnTo>
                <a:lnTo>
                  <a:pt x="37861" y="52489"/>
                </a:lnTo>
                <a:lnTo>
                  <a:pt x="37861" y="67978"/>
                </a:lnTo>
                <a:lnTo>
                  <a:pt x="53349" y="67978"/>
                </a:lnTo>
                <a:close/>
                <a:moveTo>
                  <a:pt x="136816" y="0"/>
                </a:moveTo>
                <a:cubicBezTo>
                  <a:pt x="141118" y="0"/>
                  <a:pt x="144559" y="1721"/>
                  <a:pt x="147141" y="4302"/>
                </a:cubicBezTo>
                <a:cubicBezTo>
                  <a:pt x="150583" y="6884"/>
                  <a:pt x="151444" y="10326"/>
                  <a:pt x="151444" y="14628"/>
                </a:cubicBezTo>
                <a:lnTo>
                  <a:pt x="151444" y="105839"/>
                </a:lnTo>
                <a:cubicBezTo>
                  <a:pt x="151444" y="110141"/>
                  <a:pt x="149723" y="113583"/>
                  <a:pt x="147141" y="116164"/>
                </a:cubicBezTo>
                <a:cubicBezTo>
                  <a:pt x="144559" y="119606"/>
                  <a:pt x="141118" y="120467"/>
                  <a:pt x="136816" y="120467"/>
                </a:cubicBezTo>
                <a:lnTo>
                  <a:pt x="30117" y="120467"/>
                </a:lnTo>
                <a:lnTo>
                  <a:pt x="0" y="150583"/>
                </a:lnTo>
                <a:lnTo>
                  <a:pt x="0" y="14628"/>
                </a:lnTo>
                <a:cubicBezTo>
                  <a:pt x="0" y="10326"/>
                  <a:pt x="1721" y="6884"/>
                  <a:pt x="4302" y="4302"/>
                </a:cubicBezTo>
                <a:cubicBezTo>
                  <a:pt x="7745" y="860"/>
                  <a:pt x="11186" y="0"/>
                  <a:pt x="14628" y="0"/>
                </a:cubicBezTo>
                <a:lnTo>
                  <a:pt x="136816" y="0"/>
                </a:lnTo>
                <a:close/>
              </a:path>
            </a:pathLst>
          </a:custGeom>
          <a:solidFill>
            <a:schemeClr val="accent1"/>
          </a:solidFill>
          <a:ln w="8603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9854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Color Pictur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2898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4" name="CuadroTexto 64">
            <a:extLst>
              <a:ext uri="{FF2B5EF4-FFF2-40B4-BE49-F238E27FC236}">
                <a16:creationId xmlns:a16="http://schemas.microsoft.com/office/drawing/2014/main" id="{CC2249F8-C077-487B-9BA3-4B911902A356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F579A3E-7345-456E-9716-B8A1EB8599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1396800"/>
            <a:ext cx="5731200" cy="4752000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 lang="en-US" sz="1400" b="0" i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C806392-A3AF-4A5A-84AF-59D8296F85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7200" y="254622"/>
            <a:ext cx="6440488" cy="642938"/>
          </a:xfr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i="0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i="0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Click to edit Master title styles</a:t>
            </a:r>
          </a:p>
        </p:txBody>
      </p:sp>
      <p:sp>
        <p:nvSpPr>
          <p:cNvPr id="8" name="Marcador de posición de imagen 2">
            <a:extLst>
              <a:ext uri="{FF2B5EF4-FFF2-40B4-BE49-F238E27FC236}">
                <a16:creationId xmlns:a16="http://schemas.microsoft.com/office/drawing/2014/main" id="{E4F1106D-AF6F-42F7-98D6-A03790982A3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38529" y="-14050"/>
            <a:ext cx="5670915" cy="6877222"/>
          </a:xfrm>
          <a:custGeom>
            <a:avLst/>
            <a:gdLst>
              <a:gd name="connsiteX0" fmla="*/ 0 w 4592124"/>
              <a:gd name="connsiteY0" fmla="*/ 0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0 w 4592124"/>
              <a:gd name="connsiteY4" fmla="*/ 0 h 6858000"/>
              <a:gd name="connsiteX0" fmla="*/ 2549525 w 4592124"/>
              <a:gd name="connsiteY0" fmla="*/ 1058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2549525 w 4592124"/>
              <a:gd name="connsiteY4" fmla="*/ 1058 h 6858000"/>
              <a:gd name="connsiteX0" fmla="*/ 2549525 w 4592124"/>
              <a:gd name="connsiteY0" fmla="*/ 0 h 6856942"/>
              <a:gd name="connsiteX1" fmla="*/ 4592124 w 4592124"/>
              <a:gd name="connsiteY1" fmla="*/ 1371762 h 6856942"/>
              <a:gd name="connsiteX2" fmla="*/ 4592124 w 4592124"/>
              <a:gd name="connsiteY2" fmla="*/ 6856942 h 6856942"/>
              <a:gd name="connsiteX3" fmla="*/ 0 w 4592124"/>
              <a:gd name="connsiteY3" fmla="*/ 6856942 h 6856942"/>
              <a:gd name="connsiteX4" fmla="*/ 2549525 w 4592124"/>
              <a:gd name="connsiteY4" fmla="*/ 0 h 6856942"/>
              <a:gd name="connsiteX0" fmla="*/ 2045812 w 4592124"/>
              <a:gd name="connsiteY0" fmla="*/ 1058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45812 w 4592124"/>
              <a:gd name="connsiteY4" fmla="*/ 1058 h 5485180"/>
              <a:gd name="connsiteX0" fmla="*/ 2028628 w 4592124"/>
              <a:gd name="connsiteY0" fmla="*/ 36027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28628 w 4592124"/>
              <a:gd name="connsiteY4" fmla="*/ 36027 h 5485180"/>
              <a:gd name="connsiteX0" fmla="*/ 2028628 w 4592124"/>
              <a:gd name="connsiteY0" fmla="*/ 4509 h 5453662"/>
              <a:gd name="connsiteX1" fmla="*/ 4568296 w 4592124"/>
              <a:gd name="connsiteY1" fmla="*/ 0 h 5453662"/>
              <a:gd name="connsiteX2" fmla="*/ 4592124 w 4592124"/>
              <a:gd name="connsiteY2" fmla="*/ 5453662 h 5453662"/>
              <a:gd name="connsiteX3" fmla="*/ 0 w 4592124"/>
              <a:gd name="connsiteY3" fmla="*/ 5453662 h 5453662"/>
              <a:gd name="connsiteX4" fmla="*/ 2028628 w 4592124"/>
              <a:gd name="connsiteY4" fmla="*/ 4509 h 5453662"/>
              <a:gd name="connsiteX0" fmla="*/ 2028628 w 4743341"/>
              <a:gd name="connsiteY0" fmla="*/ 4509 h 5460656"/>
              <a:gd name="connsiteX1" fmla="*/ 4568296 w 4743341"/>
              <a:gd name="connsiteY1" fmla="*/ 0 h 5460656"/>
              <a:gd name="connsiteX2" fmla="*/ 4743341 w 4743341"/>
              <a:gd name="connsiteY2" fmla="*/ 5460656 h 5460656"/>
              <a:gd name="connsiteX3" fmla="*/ 0 w 4743341"/>
              <a:gd name="connsiteY3" fmla="*/ 5453662 h 5460656"/>
              <a:gd name="connsiteX4" fmla="*/ 2028628 w 4743341"/>
              <a:gd name="connsiteY4" fmla="*/ 4509 h 5460656"/>
              <a:gd name="connsiteX0" fmla="*/ 2028628 w 4760755"/>
              <a:gd name="connsiteY0" fmla="*/ 4509 h 5460656"/>
              <a:gd name="connsiteX1" fmla="*/ 4760755 w 4760755"/>
              <a:gd name="connsiteY1" fmla="*/ 0 h 5460656"/>
              <a:gd name="connsiteX2" fmla="*/ 4743341 w 4760755"/>
              <a:gd name="connsiteY2" fmla="*/ 5460656 h 5460656"/>
              <a:gd name="connsiteX3" fmla="*/ 0 w 4760755"/>
              <a:gd name="connsiteY3" fmla="*/ 5453662 h 5460656"/>
              <a:gd name="connsiteX4" fmla="*/ 2028628 w 4760755"/>
              <a:gd name="connsiteY4" fmla="*/ 4509 h 5460656"/>
              <a:gd name="connsiteX0" fmla="*/ 2042201 w 4774328"/>
              <a:gd name="connsiteY0" fmla="*/ 4509 h 5467473"/>
              <a:gd name="connsiteX1" fmla="*/ 4774328 w 4774328"/>
              <a:gd name="connsiteY1" fmla="*/ 0 h 5467473"/>
              <a:gd name="connsiteX2" fmla="*/ 4756914 w 4774328"/>
              <a:gd name="connsiteY2" fmla="*/ 5460656 h 5467473"/>
              <a:gd name="connsiteX3" fmla="*/ 0 w 4774328"/>
              <a:gd name="connsiteY3" fmla="*/ 5467473 h 5467473"/>
              <a:gd name="connsiteX4" fmla="*/ 2042201 w 4774328"/>
              <a:gd name="connsiteY4" fmla="*/ 4509 h 5467473"/>
              <a:gd name="connsiteX0" fmla="*/ 2042201 w 4774328"/>
              <a:gd name="connsiteY0" fmla="*/ 4509 h 5474466"/>
              <a:gd name="connsiteX1" fmla="*/ 4774328 w 4774328"/>
              <a:gd name="connsiteY1" fmla="*/ 0 h 5474466"/>
              <a:gd name="connsiteX2" fmla="*/ 4765962 w 4774328"/>
              <a:gd name="connsiteY2" fmla="*/ 5474466 h 5474466"/>
              <a:gd name="connsiteX3" fmla="*/ 0 w 4774328"/>
              <a:gd name="connsiteY3" fmla="*/ 5467473 h 5474466"/>
              <a:gd name="connsiteX4" fmla="*/ 2042201 w 4774328"/>
              <a:gd name="connsiteY4" fmla="*/ 4509 h 5474466"/>
              <a:gd name="connsiteX0" fmla="*/ 2042201 w 4778853"/>
              <a:gd name="connsiteY0" fmla="*/ 0 h 5469957"/>
              <a:gd name="connsiteX1" fmla="*/ 4778853 w 4778853"/>
              <a:gd name="connsiteY1" fmla="*/ 4698 h 5469957"/>
              <a:gd name="connsiteX2" fmla="*/ 4765962 w 4778853"/>
              <a:gd name="connsiteY2" fmla="*/ 5469957 h 5469957"/>
              <a:gd name="connsiteX3" fmla="*/ 0 w 4778853"/>
              <a:gd name="connsiteY3" fmla="*/ 5462964 h 5469957"/>
              <a:gd name="connsiteX4" fmla="*/ 2042201 w 4778853"/>
              <a:gd name="connsiteY4" fmla="*/ 0 h 5469957"/>
              <a:gd name="connsiteX0" fmla="*/ 2042201 w 4781135"/>
              <a:gd name="connsiteY0" fmla="*/ 0 h 5462964"/>
              <a:gd name="connsiteX1" fmla="*/ 4778853 w 4781135"/>
              <a:gd name="connsiteY1" fmla="*/ 4698 h 5462964"/>
              <a:gd name="connsiteX2" fmla="*/ 4779535 w 4781135"/>
              <a:gd name="connsiteY2" fmla="*/ 5460751 h 5462964"/>
              <a:gd name="connsiteX3" fmla="*/ 0 w 4781135"/>
              <a:gd name="connsiteY3" fmla="*/ 5462964 h 5462964"/>
              <a:gd name="connsiteX4" fmla="*/ 2042201 w 4781135"/>
              <a:gd name="connsiteY4" fmla="*/ 0 h 5462964"/>
              <a:gd name="connsiteX0" fmla="*/ 2046725 w 4781135"/>
              <a:gd name="connsiteY0" fmla="*/ 0 h 5467567"/>
              <a:gd name="connsiteX1" fmla="*/ 4778853 w 4781135"/>
              <a:gd name="connsiteY1" fmla="*/ 9301 h 5467567"/>
              <a:gd name="connsiteX2" fmla="*/ 4779535 w 4781135"/>
              <a:gd name="connsiteY2" fmla="*/ 5465354 h 5467567"/>
              <a:gd name="connsiteX3" fmla="*/ 0 w 4781135"/>
              <a:gd name="connsiteY3" fmla="*/ 5467567 h 5467567"/>
              <a:gd name="connsiteX4" fmla="*/ 2046725 w 4781135"/>
              <a:gd name="connsiteY4" fmla="*/ 0 h 5467567"/>
              <a:gd name="connsiteX0" fmla="*/ 2046725 w 4779604"/>
              <a:gd name="connsiteY0" fmla="*/ 2821 h 5470388"/>
              <a:gd name="connsiteX1" fmla="*/ 4433343 w 4779604"/>
              <a:gd name="connsiteY1" fmla="*/ 0 h 5470388"/>
              <a:gd name="connsiteX2" fmla="*/ 4779535 w 4779604"/>
              <a:gd name="connsiteY2" fmla="*/ 5468175 h 5470388"/>
              <a:gd name="connsiteX3" fmla="*/ 0 w 4779604"/>
              <a:gd name="connsiteY3" fmla="*/ 5470388 h 5470388"/>
              <a:gd name="connsiteX4" fmla="*/ 2046725 w 4779604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3343" h="5470388">
                <a:moveTo>
                  <a:pt x="2046725" y="2821"/>
                </a:moveTo>
                <a:lnTo>
                  <a:pt x="4433343" y="0"/>
                </a:lnTo>
                <a:cubicBezTo>
                  <a:pt x="4427538" y="1820219"/>
                  <a:pt x="4431887" y="3647956"/>
                  <a:pt x="4426082" y="5468175"/>
                </a:cubicBezTo>
                <a:lnTo>
                  <a:pt x="0" y="5470388"/>
                </a:lnTo>
                <a:lnTo>
                  <a:pt x="2046725" y="2821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239AA17-8738-4D9F-9EE6-683BA57CA59D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E3E47A5-4CE4-4B30-A14D-C86E5C96AAF8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FF40FDF-A4AC-4ACE-945C-2AB94EF41ECC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EC79A2F-8581-4F78-B2C7-3586C093528A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8EA8F761-4189-420E-96C9-460A6A4EC63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611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Simpl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3107E2-3D7C-4EA6-A3AE-B45AC3CE49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15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F3107E2-3D7C-4EA6-A3AE-B45AC3CE49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>
            <a:extLst>
              <a:ext uri="{FF2B5EF4-FFF2-40B4-BE49-F238E27FC236}">
                <a16:creationId xmlns:a16="http://schemas.microsoft.com/office/drawing/2014/main" id="{588F6A14-7494-EC4A-867C-864E07DD2DF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500" y="532355"/>
            <a:ext cx="2412941" cy="591595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4BFB3231-EC8D-AC43-B9D1-D6556772F6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8500" y="2924496"/>
            <a:ext cx="5397500" cy="636702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s-ES" err="1"/>
              <a:t>Presentation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goes</a:t>
            </a:r>
            <a:r>
              <a:rPr lang="es-ES"/>
              <a:t> </a:t>
            </a:r>
            <a:r>
              <a:rPr lang="es-ES" err="1"/>
              <a:t>here</a:t>
            </a:r>
            <a:endParaRPr lang="es-ES"/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EA5FD70C-DAB3-DD4D-8618-2EAF4E482F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8500" y="4336157"/>
            <a:ext cx="5397500" cy="81402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goes</a:t>
            </a:r>
            <a:r>
              <a:rPr lang="es-ES"/>
              <a:t> </a:t>
            </a:r>
            <a:r>
              <a:rPr lang="es-ES" err="1"/>
              <a:t>here</a:t>
            </a:r>
            <a:endParaRPr lang="es-ES"/>
          </a:p>
        </p:txBody>
      </p:sp>
      <p:sp>
        <p:nvSpPr>
          <p:cNvPr id="14" name="Marcador de texto 10">
            <a:extLst>
              <a:ext uri="{FF2B5EF4-FFF2-40B4-BE49-F238E27FC236}">
                <a16:creationId xmlns:a16="http://schemas.microsoft.com/office/drawing/2014/main" id="{E2245453-498C-BF41-952E-3A56169701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8500" y="5734050"/>
            <a:ext cx="5397500" cy="674688"/>
          </a:xfrm>
          <a:prstGeom prst="rect">
            <a:avLst/>
          </a:prstGeom>
        </p:spPr>
        <p:txBody>
          <a:bodyPr/>
          <a:lstStyle>
            <a:lvl1pPr algn="l">
              <a:lnSpc>
                <a:spcPct val="140000"/>
              </a:lnSpc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  <a:lvl2pPr algn="ctr">
              <a:buFontTx/>
              <a:buNone/>
              <a:defRPr sz="1200">
                <a:solidFill>
                  <a:schemeClr val="bg1"/>
                </a:solidFill>
              </a:defRPr>
            </a:lvl2pPr>
            <a:lvl3pPr algn="ctr">
              <a:buFontTx/>
              <a:buNone/>
              <a:defRPr sz="1200">
                <a:solidFill>
                  <a:schemeClr val="bg1"/>
                </a:solidFill>
              </a:defRPr>
            </a:lvl3pPr>
            <a:lvl4pPr algn="ctr">
              <a:buFontTx/>
              <a:buNone/>
              <a:defRPr sz="1200">
                <a:solidFill>
                  <a:schemeClr val="bg1"/>
                </a:solidFill>
              </a:defRPr>
            </a:lvl4pPr>
            <a:lvl5pPr algn="ctr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err="1"/>
              <a:t>Name</a:t>
            </a:r>
            <a:r>
              <a:rPr lang="es-ES"/>
              <a:t> </a:t>
            </a:r>
            <a:br>
              <a:rPr lang="es-ES"/>
            </a:br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9" name="Marcador de posición de imagen 2">
            <a:extLst>
              <a:ext uri="{FF2B5EF4-FFF2-40B4-BE49-F238E27FC236}">
                <a16:creationId xmlns:a16="http://schemas.microsoft.com/office/drawing/2014/main" id="{1827C2A2-0134-4391-96A1-5B941A0E64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38529" y="-14050"/>
            <a:ext cx="5670915" cy="6877222"/>
          </a:xfrm>
          <a:custGeom>
            <a:avLst/>
            <a:gdLst>
              <a:gd name="connsiteX0" fmla="*/ 0 w 4592124"/>
              <a:gd name="connsiteY0" fmla="*/ 0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0 w 4592124"/>
              <a:gd name="connsiteY4" fmla="*/ 0 h 6858000"/>
              <a:gd name="connsiteX0" fmla="*/ 2549525 w 4592124"/>
              <a:gd name="connsiteY0" fmla="*/ 1058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2549525 w 4592124"/>
              <a:gd name="connsiteY4" fmla="*/ 1058 h 6858000"/>
              <a:gd name="connsiteX0" fmla="*/ 2549525 w 4592124"/>
              <a:gd name="connsiteY0" fmla="*/ 0 h 6856942"/>
              <a:gd name="connsiteX1" fmla="*/ 4592124 w 4592124"/>
              <a:gd name="connsiteY1" fmla="*/ 1371762 h 6856942"/>
              <a:gd name="connsiteX2" fmla="*/ 4592124 w 4592124"/>
              <a:gd name="connsiteY2" fmla="*/ 6856942 h 6856942"/>
              <a:gd name="connsiteX3" fmla="*/ 0 w 4592124"/>
              <a:gd name="connsiteY3" fmla="*/ 6856942 h 6856942"/>
              <a:gd name="connsiteX4" fmla="*/ 2549525 w 4592124"/>
              <a:gd name="connsiteY4" fmla="*/ 0 h 6856942"/>
              <a:gd name="connsiteX0" fmla="*/ 2045812 w 4592124"/>
              <a:gd name="connsiteY0" fmla="*/ 1058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45812 w 4592124"/>
              <a:gd name="connsiteY4" fmla="*/ 1058 h 5485180"/>
              <a:gd name="connsiteX0" fmla="*/ 2028628 w 4592124"/>
              <a:gd name="connsiteY0" fmla="*/ 36027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28628 w 4592124"/>
              <a:gd name="connsiteY4" fmla="*/ 36027 h 5485180"/>
              <a:gd name="connsiteX0" fmla="*/ 2028628 w 4592124"/>
              <a:gd name="connsiteY0" fmla="*/ 4509 h 5453662"/>
              <a:gd name="connsiteX1" fmla="*/ 4568296 w 4592124"/>
              <a:gd name="connsiteY1" fmla="*/ 0 h 5453662"/>
              <a:gd name="connsiteX2" fmla="*/ 4592124 w 4592124"/>
              <a:gd name="connsiteY2" fmla="*/ 5453662 h 5453662"/>
              <a:gd name="connsiteX3" fmla="*/ 0 w 4592124"/>
              <a:gd name="connsiteY3" fmla="*/ 5453662 h 5453662"/>
              <a:gd name="connsiteX4" fmla="*/ 2028628 w 4592124"/>
              <a:gd name="connsiteY4" fmla="*/ 4509 h 5453662"/>
              <a:gd name="connsiteX0" fmla="*/ 2028628 w 4743341"/>
              <a:gd name="connsiteY0" fmla="*/ 4509 h 5460656"/>
              <a:gd name="connsiteX1" fmla="*/ 4568296 w 4743341"/>
              <a:gd name="connsiteY1" fmla="*/ 0 h 5460656"/>
              <a:gd name="connsiteX2" fmla="*/ 4743341 w 4743341"/>
              <a:gd name="connsiteY2" fmla="*/ 5460656 h 5460656"/>
              <a:gd name="connsiteX3" fmla="*/ 0 w 4743341"/>
              <a:gd name="connsiteY3" fmla="*/ 5453662 h 5460656"/>
              <a:gd name="connsiteX4" fmla="*/ 2028628 w 4743341"/>
              <a:gd name="connsiteY4" fmla="*/ 4509 h 5460656"/>
              <a:gd name="connsiteX0" fmla="*/ 2028628 w 4760755"/>
              <a:gd name="connsiteY0" fmla="*/ 4509 h 5460656"/>
              <a:gd name="connsiteX1" fmla="*/ 4760755 w 4760755"/>
              <a:gd name="connsiteY1" fmla="*/ 0 h 5460656"/>
              <a:gd name="connsiteX2" fmla="*/ 4743341 w 4760755"/>
              <a:gd name="connsiteY2" fmla="*/ 5460656 h 5460656"/>
              <a:gd name="connsiteX3" fmla="*/ 0 w 4760755"/>
              <a:gd name="connsiteY3" fmla="*/ 5453662 h 5460656"/>
              <a:gd name="connsiteX4" fmla="*/ 2028628 w 4760755"/>
              <a:gd name="connsiteY4" fmla="*/ 4509 h 5460656"/>
              <a:gd name="connsiteX0" fmla="*/ 2042201 w 4774328"/>
              <a:gd name="connsiteY0" fmla="*/ 4509 h 5467473"/>
              <a:gd name="connsiteX1" fmla="*/ 4774328 w 4774328"/>
              <a:gd name="connsiteY1" fmla="*/ 0 h 5467473"/>
              <a:gd name="connsiteX2" fmla="*/ 4756914 w 4774328"/>
              <a:gd name="connsiteY2" fmla="*/ 5460656 h 5467473"/>
              <a:gd name="connsiteX3" fmla="*/ 0 w 4774328"/>
              <a:gd name="connsiteY3" fmla="*/ 5467473 h 5467473"/>
              <a:gd name="connsiteX4" fmla="*/ 2042201 w 4774328"/>
              <a:gd name="connsiteY4" fmla="*/ 4509 h 5467473"/>
              <a:gd name="connsiteX0" fmla="*/ 2042201 w 4774328"/>
              <a:gd name="connsiteY0" fmla="*/ 4509 h 5474466"/>
              <a:gd name="connsiteX1" fmla="*/ 4774328 w 4774328"/>
              <a:gd name="connsiteY1" fmla="*/ 0 h 5474466"/>
              <a:gd name="connsiteX2" fmla="*/ 4765962 w 4774328"/>
              <a:gd name="connsiteY2" fmla="*/ 5474466 h 5474466"/>
              <a:gd name="connsiteX3" fmla="*/ 0 w 4774328"/>
              <a:gd name="connsiteY3" fmla="*/ 5467473 h 5474466"/>
              <a:gd name="connsiteX4" fmla="*/ 2042201 w 4774328"/>
              <a:gd name="connsiteY4" fmla="*/ 4509 h 5474466"/>
              <a:gd name="connsiteX0" fmla="*/ 2042201 w 4778853"/>
              <a:gd name="connsiteY0" fmla="*/ 0 h 5469957"/>
              <a:gd name="connsiteX1" fmla="*/ 4778853 w 4778853"/>
              <a:gd name="connsiteY1" fmla="*/ 4698 h 5469957"/>
              <a:gd name="connsiteX2" fmla="*/ 4765962 w 4778853"/>
              <a:gd name="connsiteY2" fmla="*/ 5469957 h 5469957"/>
              <a:gd name="connsiteX3" fmla="*/ 0 w 4778853"/>
              <a:gd name="connsiteY3" fmla="*/ 5462964 h 5469957"/>
              <a:gd name="connsiteX4" fmla="*/ 2042201 w 4778853"/>
              <a:gd name="connsiteY4" fmla="*/ 0 h 5469957"/>
              <a:gd name="connsiteX0" fmla="*/ 2042201 w 4781135"/>
              <a:gd name="connsiteY0" fmla="*/ 0 h 5462964"/>
              <a:gd name="connsiteX1" fmla="*/ 4778853 w 4781135"/>
              <a:gd name="connsiteY1" fmla="*/ 4698 h 5462964"/>
              <a:gd name="connsiteX2" fmla="*/ 4779535 w 4781135"/>
              <a:gd name="connsiteY2" fmla="*/ 5460751 h 5462964"/>
              <a:gd name="connsiteX3" fmla="*/ 0 w 4781135"/>
              <a:gd name="connsiteY3" fmla="*/ 5462964 h 5462964"/>
              <a:gd name="connsiteX4" fmla="*/ 2042201 w 4781135"/>
              <a:gd name="connsiteY4" fmla="*/ 0 h 5462964"/>
              <a:gd name="connsiteX0" fmla="*/ 2046725 w 4781135"/>
              <a:gd name="connsiteY0" fmla="*/ 0 h 5467567"/>
              <a:gd name="connsiteX1" fmla="*/ 4778853 w 4781135"/>
              <a:gd name="connsiteY1" fmla="*/ 9301 h 5467567"/>
              <a:gd name="connsiteX2" fmla="*/ 4779535 w 4781135"/>
              <a:gd name="connsiteY2" fmla="*/ 5465354 h 5467567"/>
              <a:gd name="connsiteX3" fmla="*/ 0 w 4781135"/>
              <a:gd name="connsiteY3" fmla="*/ 5467567 h 5467567"/>
              <a:gd name="connsiteX4" fmla="*/ 2046725 w 4781135"/>
              <a:gd name="connsiteY4" fmla="*/ 0 h 5467567"/>
              <a:gd name="connsiteX0" fmla="*/ 2046725 w 4779604"/>
              <a:gd name="connsiteY0" fmla="*/ 2821 h 5470388"/>
              <a:gd name="connsiteX1" fmla="*/ 4433343 w 4779604"/>
              <a:gd name="connsiteY1" fmla="*/ 0 h 5470388"/>
              <a:gd name="connsiteX2" fmla="*/ 4779535 w 4779604"/>
              <a:gd name="connsiteY2" fmla="*/ 5468175 h 5470388"/>
              <a:gd name="connsiteX3" fmla="*/ 0 w 4779604"/>
              <a:gd name="connsiteY3" fmla="*/ 5470388 h 5470388"/>
              <a:gd name="connsiteX4" fmla="*/ 2046725 w 4779604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3343" h="5470388">
                <a:moveTo>
                  <a:pt x="2046725" y="2821"/>
                </a:moveTo>
                <a:lnTo>
                  <a:pt x="4433343" y="0"/>
                </a:lnTo>
                <a:cubicBezTo>
                  <a:pt x="4427538" y="1820219"/>
                  <a:pt x="4431887" y="3647956"/>
                  <a:pt x="4426082" y="5468175"/>
                </a:cubicBezTo>
                <a:lnTo>
                  <a:pt x="0" y="5470388"/>
                </a:lnTo>
                <a:lnTo>
                  <a:pt x="2046725" y="2821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FD6D7-D8CF-4E13-8EC2-8A937ABF2342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E1FB4FA-95BE-468B-BFE7-E073740D98C9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DFA3AF9-3B29-475E-A8CB-9EE6D80472C1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29189E1-7B64-442A-907F-CC6700ED630B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3038911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+ White +Picture (righ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48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4" name="CuadroTexto 64">
            <a:extLst>
              <a:ext uri="{FF2B5EF4-FFF2-40B4-BE49-F238E27FC236}">
                <a16:creationId xmlns:a16="http://schemas.microsoft.com/office/drawing/2014/main" id="{CC2249F8-C077-487B-9BA3-4B911902A356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F579A3E-7345-456E-9716-B8A1EB8599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1396800"/>
            <a:ext cx="5731200" cy="4752000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en-US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Graphic 10">
            <a:extLst>
              <a:ext uri="{FF2B5EF4-FFF2-40B4-BE49-F238E27FC236}">
                <a16:creationId xmlns:a16="http://schemas.microsoft.com/office/drawing/2014/main" id="{FBA29A88-0360-4F2A-98A7-A7A4FDB8FBA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50F8B5E4-1D7F-42FC-A9D6-1984814E1A3E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AA835B1-5521-4EDB-B6D8-FDF4910E68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0" y="252000"/>
            <a:ext cx="1144800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Marcador de posición de imagen 2">
            <a:extLst>
              <a:ext uri="{FF2B5EF4-FFF2-40B4-BE49-F238E27FC236}">
                <a16:creationId xmlns:a16="http://schemas.microsoft.com/office/drawing/2014/main" id="{793B81A0-6E54-475C-BFE1-1326EFC9AF9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38529" y="-14050"/>
            <a:ext cx="5670915" cy="6877222"/>
          </a:xfrm>
          <a:custGeom>
            <a:avLst/>
            <a:gdLst>
              <a:gd name="connsiteX0" fmla="*/ 0 w 4592124"/>
              <a:gd name="connsiteY0" fmla="*/ 0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0 w 4592124"/>
              <a:gd name="connsiteY4" fmla="*/ 0 h 6858000"/>
              <a:gd name="connsiteX0" fmla="*/ 2549525 w 4592124"/>
              <a:gd name="connsiteY0" fmla="*/ 1058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2549525 w 4592124"/>
              <a:gd name="connsiteY4" fmla="*/ 1058 h 6858000"/>
              <a:gd name="connsiteX0" fmla="*/ 2549525 w 4592124"/>
              <a:gd name="connsiteY0" fmla="*/ 0 h 6856942"/>
              <a:gd name="connsiteX1" fmla="*/ 4592124 w 4592124"/>
              <a:gd name="connsiteY1" fmla="*/ 1371762 h 6856942"/>
              <a:gd name="connsiteX2" fmla="*/ 4592124 w 4592124"/>
              <a:gd name="connsiteY2" fmla="*/ 6856942 h 6856942"/>
              <a:gd name="connsiteX3" fmla="*/ 0 w 4592124"/>
              <a:gd name="connsiteY3" fmla="*/ 6856942 h 6856942"/>
              <a:gd name="connsiteX4" fmla="*/ 2549525 w 4592124"/>
              <a:gd name="connsiteY4" fmla="*/ 0 h 6856942"/>
              <a:gd name="connsiteX0" fmla="*/ 2045812 w 4592124"/>
              <a:gd name="connsiteY0" fmla="*/ 1058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45812 w 4592124"/>
              <a:gd name="connsiteY4" fmla="*/ 1058 h 5485180"/>
              <a:gd name="connsiteX0" fmla="*/ 2028628 w 4592124"/>
              <a:gd name="connsiteY0" fmla="*/ 36027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28628 w 4592124"/>
              <a:gd name="connsiteY4" fmla="*/ 36027 h 5485180"/>
              <a:gd name="connsiteX0" fmla="*/ 2028628 w 4592124"/>
              <a:gd name="connsiteY0" fmla="*/ 4509 h 5453662"/>
              <a:gd name="connsiteX1" fmla="*/ 4568296 w 4592124"/>
              <a:gd name="connsiteY1" fmla="*/ 0 h 5453662"/>
              <a:gd name="connsiteX2" fmla="*/ 4592124 w 4592124"/>
              <a:gd name="connsiteY2" fmla="*/ 5453662 h 5453662"/>
              <a:gd name="connsiteX3" fmla="*/ 0 w 4592124"/>
              <a:gd name="connsiteY3" fmla="*/ 5453662 h 5453662"/>
              <a:gd name="connsiteX4" fmla="*/ 2028628 w 4592124"/>
              <a:gd name="connsiteY4" fmla="*/ 4509 h 5453662"/>
              <a:gd name="connsiteX0" fmla="*/ 2028628 w 4743341"/>
              <a:gd name="connsiteY0" fmla="*/ 4509 h 5460656"/>
              <a:gd name="connsiteX1" fmla="*/ 4568296 w 4743341"/>
              <a:gd name="connsiteY1" fmla="*/ 0 h 5460656"/>
              <a:gd name="connsiteX2" fmla="*/ 4743341 w 4743341"/>
              <a:gd name="connsiteY2" fmla="*/ 5460656 h 5460656"/>
              <a:gd name="connsiteX3" fmla="*/ 0 w 4743341"/>
              <a:gd name="connsiteY3" fmla="*/ 5453662 h 5460656"/>
              <a:gd name="connsiteX4" fmla="*/ 2028628 w 4743341"/>
              <a:gd name="connsiteY4" fmla="*/ 4509 h 5460656"/>
              <a:gd name="connsiteX0" fmla="*/ 2028628 w 4760755"/>
              <a:gd name="connsiteY0" fmla="*/ 4509 h 5460656"/>
              <a:gd name="connsiteX1" fmla="*/ 4760755 w 4760755"/>
              <a:gd name="connsiteY1" fmla="*/ 0 h 5460656"/>
              <a:gd name="connsiteX2" fmla="*/ 4743341 w 4760755"/>
              <a:gd name="connsiteY2" fmla="*/ 5460656 h 5460656"/>
              <a:gd name="connsiteX3" fmla="*/ 0 w 4760755"/>
              <a:gd name="connsiteY3" fmla="*/ 5453662 h 5460656"/>
              <a:gd name="connsiteX4" fmla="*/ 2028628 w 4760755"/>
              <a:gd name="connsiteY4" fmla="*/ 4509 h 5460656"/>
              <a:gd name="connsiteX0" fmla="*/ 2042201 w 4774328"/>
              <a:gd name="connsiteY0" fmla="*/ 4509 h 5467473"/>
              <a:gd name="connsiteX1" fmla="*/ 4774328 w 4774328"/>
              <a:gd name="connsiteY1" fmla="*/ 0 h 5467473"/>
              <a:gd name="connsiteX2" fmla="*/ 4756914 w 4774328"/>
              <a:gd name="connsiteY2" fmla="*/ 5460656 h 5467473"/>
              <a:gd name="connsiteX3" fmla="*/ 0 w 4774328"/>
              <a:gd name="connsiteY3" fmla="*/ 5467473 h 5467473"/>
              <a:gd name="connsiteX4" fmla="*/ 2042201 w 4774328"/>
              <a:gd name="connsiteY4" fmla="*/ 4509 h 5467473"/>
              <a:gd name="connsiteX0" fmla="*/ 2042201 w 4774328"/>
              <a:gd name="connsiteY0" fmla="*/ 4509 h 5474466"/>
              <a:gd name="connsiteX1" fmla="*/ 4774328 w 4774328"/>
              <a:gd name="connsiteY1" fmla="*/ 0 h 5474466"/>
              <a:gd name="connsiteX2" fmla="*/ 4765962 w 4774328"/>
              <a:gd name="connsiteY2" fmla="*/ 5474466 h 5474466"/>
              <a:gd name="connsiteX3" fmla="*/ 0 w 4774328"/>
              <a:gd name="connsiteY3" fmla="*/ 5467473 h 5474466"/>
              <a:gd name="connsiteX4" fmla="*/ 2042201 w 4774328"/>
              <a:gd name="connsiteY4" fmla="*/ 4509 h 5474466"/>
              <a:gd name="connsiteX0" fmla="*/ 2042201 w 4778853"/>
              <a:gd name="connsiteY0" fmla="*/ 0 h 5469957"/>
              <a:gd name="connsiteX1" fmla="*/ 4778853 w 4778853"/>
              <a:gd name="connsiteY1" fmla="*/ 4698 h 5469957"/>
              <a:gd name="connsiteX2" fmla="*/ 4765962 w 4778853"/>
              <a:gd name="connsiteY2" fmla="*/ 5469957 h 5469957"/>
              <a:gd name="connsiteX3" fmla="*/ 0 w 4778853"/>
              <a:gd name="connsiteY3" fmla="*/ 5462964 h 5469957"/>
              <a:gd name="connsiteX4" fmla="*/ 2042201 w 4778853"/>
              <a:gd name="connsiteY4" fmla="*/ 0 h 5469957"/>
              <a:gd name="connsiteX0" fmla="*/ 2042201 w 4781135"/>
              <a:gd name="connsiteY0" fmla="*/ 0 h 5462964"/>
              <a:gd name="connsiteX1" fmla="*/ 4778853 w 4781135"/>
              <a:gd name="connsiteY1" fmla="*/ 4698 h 5462964"/>
              <a:gd name="connsiteX2" fmla="*/ 4779535 w 4781135"/>
              <a:gd name="connsiteY2" fmla="*/ 5460751 h 5462964"/>
              <a:gd name="connsiteX3" fmla="*/ 0 w 4781135"/>
              <a:gd name="connsiteY3" fmla="*/ 5462964 h 5462964"/>
              <a:gd name="connsiteX4" fmla="*/ 2042201 w 4781135"/>
              <a:gd name="connsiteY4" fmla="*/ 0 h 5462964"/>
              <a:gd name="connsiteX0" fmla="*/ 2046725 w 4781135"/>
              <a:gd name="connsiteY0" fmla="*/ 0 h 5467567"/>
              <a:gd name="connsiteX1" fmla="*/ 4778853 w 4781135"/>
              <a:gd name="connsiteY1" fmla="*/ 9301 h 5467567"/>
              <a:gd name="connsiteX2" fmla="*/ 4779535 w 4781135"/>
              <a:gd name="connsiteY2" fmla="*/ 5465354 h 5467567"/>
              <a:gd name="connsiteX3" fmla="*/ 0 w 4781135"/>
              <a:gd name="connsiteY3" fmla="*/ 5467567 h 5467567"/>
              <a:gd name="connsiteX4" fmla="*/ 2046725 w 4781135"/>
              <a:gd name="connsiteY4" fmla="*/ 0 h 5467567"/>
              <a:gd name="connsiteX0" fmla="*/ 2046725 w 4779604"/>
              <a:gd name="connsiteY0" fmla="*/ 2821 h 5470388"/>
              <a:gd name="connsiteX1" fmla="*/ 4433343 w 4779604"/>
              <a:gd name="connsiteY1" fmla="*/ 0 h 5470388"/>
              <a:gd name="connsiteX2" fmla="*/ 4779535 w 4779604"/>
              <a:gd name="connsiteY2" fmla="*/ 5468175 h 5470388"/>
              <a:gd name="connsiteX3" fmla="*/ 0 w 4779604"/>
              <a:gd name="connsiteY3" fmla="*/ 5470388 h 5470388"/>
              <a:gd name="connsiteX4" fmla="*/ 2046725 w 4779604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3343" h="5470388">
                <a:moveTo>
                  <a:pt x="2046725" y="2821"/>
                </a:moveTo>
                <a:lnTo>
                  <a:pt x="4433343" y="0"/>
                </a:lnTo>
                <a:cubicBezTo>
                  <a:pt x="4427538" y="1820219"/>
                  <a:pt x="4431887" y="3647956"/>
                  <a:pt x="4426082" y="5468175"/>
                </a:cubicBezTo>
                <a:lnTo>
                  <a:pt x="0" y="5470388"/>
                </a:lnTo>
                <a:lnTo>
                  <a:pt x="2046725" y="2821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B362F00-C20E-4FBB-B400-F2BA76CB6FB6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DBD38D-B4D4-4591-9F45-2B6AE584B3A5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6393584-F088-40CE-A468-CEB1953B042D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432AAB4-63BB-46BF-87D3-813A0270F480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0475815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Color Picture v2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699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F579A3E-7345-456E-9716-B8A1EB8599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1396800"/>
            <a:ext cx="5336703" cy="4752000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 lang="en-US" sz="1400" b="0" i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Marcador de posición de imagen 2">
            <a:extLst>
              <a:ext uri="{FF2B5EF4-FFF2-40B4-BE49-F238E27FC236}">
                <a16:creationId xmlns:a16="http://schemas.microsoft.com/office/drawing/2014/main" id="{31CC0BB2-D270-45FA-B36D-7DA74555A1C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105159" y="0"/>
            <a:ext cx="6086841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78E38E11-42CA-4072-BA9B-615D513DD720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2242D9D6-D11A-4D6D-B040-1DB896ED4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0" y="252000"/>
            <a:ext cx="11448000" cy="4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3A34D5F-1862-4AF6-A1FB-AB557083FBA8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D90E8D-7383-48EA-9C46-8ED32678559A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DF8D71-3144-4FFA-A9E0-AB725BDE6C5F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93AEE06-F5A3-4CA6-A1EE-587CBF766DE1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pic>
        <p:nvPicPr>
          <p:cNvPr id="15" name="Graphic 10">
            <a:extLst>
              <a:ext uri="{FF2B5EF4-FFF2-40B4-BE49-F238E27FC236}">
                <a16:creationId xmlns:a16="http://schemas.microsoft.com/office/drawing/2014/main" id="{1EF219A0-C34D-4FA0-9BE3-68053D25982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1021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Color Picture v3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0406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F579A3E-7345-456E-9716-B8A1EB8599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98400" y="1396800"/>
            <a:ext cx="7416800" cy="4752000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 lang="en-US" sz="1400" b="0" i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Marcador de posición de imagen 2">
            <a:extLst>
              <a:ext uri="{FF2B5EF4-FFF2-40B4-BE49-F238E27FC236}">
                <a16:creationId xmlns:a16="http://schemas.microsoft.com/office/drawing/2014/main" id="{31CC0BB2-D270-45FA-B36D-7DA74555A1C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719513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CuadroTexto 64">
            <a:extLst>
              <a:ext uri="{FF2B5EF4-FFF2-40B4-BE49-F238E27FC236}">
                <a16:creationId xmlns:a16="http://schemas.microsoft.com/office/drawing/2014/main" id="{A837BAC7-8936-49B2-AA16-4D8D20EFE2F7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BCF6E4-34B1-4810-9AD2-831E946545EB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42A6AA-E939-46F9-817D-B9054D68E5BA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0A577B-D86E-4B54-AD20-19D8159F92C4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B6B5D48-D763-464A-8CC8-CDBF9B7B60D1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02AA6F99-D5FA-4B23-9741-BB0916398AB6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404704" y="722639"/>
            <a:ext cx="7410355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FD2ABE27-801C-439F-8C68-AAFCCF2AC6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3724" y="252000"/>
            <a:ext cx="7411475" cy="4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75124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White Picture v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6985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F579A3E-7345-456E-9716-B8A1EB85996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98400" y="1396800"/>
            <a:ext cx="3389875" cy="4752000"/>
          </a:xfrm>
          <a:prstGeom prst="rect">
            <a:avLst/>
          </a:prstGeo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lang="en-US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Marcador de posición de imagen 2">
            <a:extLst>
              <a:ext uri="{FF2B5EF4-FFF2-40B4-BE49-F238E27FC236}">
                <a16:creationId xmlns:a16="http://schemas.microsoft.com/office/drawing/2014/main" id="{31CC0BB2-D270-45FA-B36D-7DA74555A1C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719513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CuadroTexto 64">
            <a:extLst>
              <a:ext uri="{FF2B5EF4-FFF2-40B4-BE49-F238E27FC236}">
                <a16:creationId xmlns:a16="http://schemas.microsoft.com/office/drawing/2014/main" id="{A837BAC7-8936-49B2-AA16-4D8D20EFE2F7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CuadroTexto 64">
            <a:extLst>
              <a:ext uri="{FF2B5EF4-FFF2-40B4-BE49-F238E27FC236}">
                <a16:creationId xmlns:a16="http://schemas.microsoft.com/office/drawing/2014/main" id="{6D9740EA-CDAD-4A7D-AE29-2A54AF22C3DE}"/>
              </a:ext>
            </a:extLst>
          </p:cNvPr>
          <p:cNvSpPr txBox="1"/>
          <p:nvPr userDrawn="1"/>
        </p:nvSpPr>
        <p:spPr>
          <a:xfrm>
            <a:off x="10878986" y="6452363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71272047-0056-4EE1-A4F6-E1D3A6CAF5C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404704" y="722639"/>
            <a:ext cx="7410355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5227E7B1-E64E-4361-8C90-AF5798192F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3724" y="252000"/>
            <a:ext cx="7411475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AD02DA-5F23-483C-A16A-DBBC02B6F52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9598CED-89EA-4017-8598-4A371CA426F0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3B1909-F23A-4E60-A0A3-91D51F8D9BDD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3E7BDE0-37AF-407E-8E05-D26E3337DEB3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D00A97D-5B53-4014-9B69-DC2EF4F0B8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35975" y="1393825"/>
            <a:ext cx="3379084" cy="4752000"/>
          </a:xfrm>
          <a:prstGeom prst="rect">
            <a:avLst/>
          </a:prstGeo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lang="en-US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521811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438775-9777-4BD0-8C61-3EC57CD45D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6183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438775-9777-4BD0-8C61-3EC57CD45D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7315B50-F7B9-47D3-9FA3-225AE367F6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D143ED73-AA34-4057-A898-E1A20B1D6F7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419630-CD11-4BD6-A599-A739295FC2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8790" y="1776713"/>
            <a:ext cx="11449050" cy="4372087"/>
          </a:xfrm>
          <a:prstGeom prst="rect">
            <a:avLst/>
          </a:prstGeom>
        </p:spPr>
        <p:txBody>
          <a:bodyPr tIns="0" bIns="0"/>
          <a:lstStyle>
            <a:lvl1pPr marL="228600" marR="0" indent="-22860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en-US" sz="1400" b="0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Edit Master text styles</a:t>
            </a:r>
          </a:p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E28C07-1522-4E88-A499-483FDE05B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E715F2-57D0-425F-A875-1ECAF162EF16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B74E51B-7476-4448-8BA1-6975A442E05A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5622F09-0B7F-4791-A9C0-E65C82B28D4C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9EDC81-847D-4D5C-BF48-51DA62795E1E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3F2F52B-1A4A-4EEC-A012-4C696AB8ADA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8790" y="1396916"/>
            <a:ext cx="11451735" cy="379797"/>
          </a:xfrm>
        </p:spPr>
        <p:txBody>
          <a:bodyPr/>
          <a:lstStyle>
            <a:lvl1pPr algn="l"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43947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BB24107-BC24-45BB-AE32-32C6F8F5A3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4241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BB24107-BC24-45BB-AE32-32C6F8F5A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D717FD98-2B95-44BA-BC0C-EB1047B76BD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51112F-9BAD-48C5-B608-6CC4C443BBB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8790" y="1396800"/>
            <a:ext cx="55584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7437AF-4A44-4163-AB95-7EF6E9F7C9A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58389" y="1396800"/>
            <a:ext cx="55584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A6703-8342-4D3E-AD5E-A4FDDC5E41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45075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D07FEBE3-747B-4665-A055-556C652FA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295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D07FEBE3-747B-4665-A055-556C652FA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D717FD98-2B95-44BA-BC0C-EB1047B76BD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51112F-9BAD-48C5-B608-6CC4C443BBB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8790" y="1396800"/>
            <a:ext cx="35280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7437AF-4A44-4163-AB95-7EF6E9F7C9A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7995" y="1396800"/>
            <a:ext cx="35280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968F78-FD81-46DC-A3E5-E6D22032C66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87200" y="1396800"/>
            <a:ext cx="35280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6CC9CF0-06ED-404C-9617-D1C524E2D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3" name="Straight Connector 15">
            <a:extLst>
              <a:ext uri="{FF2B5EF4-FFF2-40B4-BE49-F238E27FC236}">
                <a16:creationId xmlns:a16="http://schemas.microsoft.com/office/drawing/2014/main" id="{FD89F59F-88BF-4FA3-B70A-AC7165A9585F}"/>
              </a:ext>
            </a:extLst>
          </p:cNvPr>
          <p:cNvCxnSpPr>
            <a:cxnSpLocks/>
          </p:cNvCxnSpPr>
          <p:nvPr userDrawn="1"/>
        </p:nvCxnSpPr>
        <p:spPr>
          <a:xfrm>
            <a:off x="4112392" y="1463040"/>
            <a:ext cx="0" cy="4672321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364FE16-2E21-461E-8CC5-237E08C8DF22}"/>
              </a:ext>
            </a:extLst>
          </p:cNvPr>
          <p:cNvCxnSpPr>
            <a:cxnSpLocks/>
          </p:cNvCxnSpPr>
          <p:nvPr userDrawn="1"/>
        </p:nvCxnSpPr>
        <p:spPr>
          <a:xfrm>
            <a:off x="8071598" y="1463040"/>
            <a:ext cx="0" cy="4672321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5005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D07FEBE3-747B-4665-A055-556C652FA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777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D07FEBE3-747B-4665-A055-556C652FA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D717FD98-2B95-44BA-BC0C-EB1047B76BD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51112F-9BAD-48C5-B608-6CC4C443BBB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8790" y="2034540"/>
            <a:ext cx="3352313" cy="324000"/>
          </a:xfrm>
        </p:spPr>
        <p:txBody>
          <a:bodyPr/>
          <a:lstStyle>
            <a:lvl1pPr algn="ctr"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07437AF-4A44-4163-AB95-7EF6E9F7C9A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05315" y="2034540"/>
            <a:ext cx="3384550" cy="324000"/>
          </a:xfrm>
        </p:spPr>
        <p:txBody>
          <a:bodyPr/>
          <a:lstStyle>
            <a:lvl1pPr algn="ctr"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968F78-FD81-46DC-A3E5-E6D22032C66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30650" y="2034540"/>
            <a:ext cx="3384549" cy="324000"/>
          </a:xfrm>
        </p:spPr>
        <p:txBody>
          <a:bodyPr/>
          <a:lstStyle>
            <a:lvl1pPr algn="ctr"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6CC9CF0-06ED-404C-9617-D1C524E2D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94A7114-B3F6-4260-81AB-216701F155F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67200" y="4302601"/>
            <a:ext cx="3352313" cy="324000"/>
          </a:xfrm>
        </p:spPr>
        <p:txBody>
          <a:bodyPr/>
          <a:lstStyle>
            <a:lvl1pPr algn="ctr"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4A529B1-D81B-4DB1-8A08-6F6434DDBDB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403725" y="4302601"/>
            <a:ext cx="3384550" cy="324000"/>
          </a:xfrm>
        </p:spPr>
        <p:txBody>
          <a:bodyPr/>
          <a:lstStyle>
            <a:lvl1pPr algn="ctr"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3D3D3DF-31AB-4A12-B7EB-E43F516F698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429060" y="4302601"/>
            <a:ext cx="3384549" cy="324000"/>
          </a:xfrm>
        </p:spPr>
        <p:txBody>
          <a:bodyPr/>
          <a:lstStyle>
            <a:lvl1pPr algn="ctr">
              <a:defRPr sz="1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53D0B6C-40C1-4650-90D3-7F21E67B336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7200" y="2384261"/>
            <a:ext cx="3352313" cy="324000"/>
          </a:xfrm>
        </p:spPr>
        <p:txBody>
          <a:bodyPr/>
          <a:lstStyle>
            <a:lvl1pPr algn="ctr"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71D6E23D-172A-4F85-9057-2BF9F656CE0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403725" y="2384261"/>
            <a:ext cx="3384550" cy="324000"/>
          </a:xfrm>
        </p:spPr>
        <p:txBody>
          <a:bodyPr/>
          <a:lstStyle>
            <a:lvl1pPr algn="ctr"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8A280D74-4AF6-4540-823C-9C57F781EC9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429060" y="2384261"/>
            <a:ext cx="3384549" cy="324000"/>
          </a:xfrm>
        </p:spPr>
        <p:txBody>
          <a:bodyPr/>
          <a:lstStyle>
            <a:lvl1pPr algn="ctr"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105582E-0B60-4316-9F79-49D82150FBD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65610" y="4652322"/>
            <a:ext cx="3352313" cy="324000"/>
          </a:xfrm>
        </p:spPr>
        <p:txBody>
          <a:bodyPr/>
          <a:lstStyle>
            <a:lvl1pPr algn="ctr"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0213C335-EBE2-46B0-949B-32EA4297CCA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02135" y="4652322"/>
            <a:ext cx="3384550" cy="324000"/>
          </a:xfrm>
        </p:spPr>
        <p:txBody>
          <a:bodyPr/>
          <a:lstStyle>
            <a:lvl1pPr algn="ctr"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626DAC52-DAA8-4D0D-9EDB-C3A10110C58C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427470" y="4652322"/>
            <a:ext cx="3384549" cy="324000"/>
          </a:xfrm>
        </p:spPr>
        <p:txBody>
          <a:bodyPr/>
          <a:lstStyle>
            <a:lvl1pPr algn="ctr">
              <a:defRPr sz="14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3892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 +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E86A160-91DB-4ED9-8E2E-A7237D94B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1826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E86A160-91DB-4ED9-8E2E-A7237D94B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2" descr="Body text will be presented like this">
            <a:extLst>
              <a:ext uri="{FF2B5EF4-FFF2-40B4-BE49-F238E27FC236}">
                <a16:creationId xmlns:a16="http://schemas.microsoft.com/office/drawing/2014/main" id="{222F074C-9474-1441-92BA-E96D35681F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8789" y="2944799"/>
            <a:ext cx="3528000" cy="3204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3A4609AB-7FB1-C44E-A15C-608F2716BFB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68789" y="2196000"/>
            <a:ext cx="3528000" cy="57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i="0">
                <a:solidFill>
                  <a:schemeClr val="accent1"/>
                </a:solidFill>
                <a:latin typeface="+mj-lt"/>
              </a:defRPr>
            </a:lvl1pPr>
            <a:lvl2pPr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0B5395A-6415-0C4F-ACC9-E6885B7E8F60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368789" y="1396800"/>
            <a:ext cx="1522202" cy="68777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600" b="1" i="0" spc="-30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#</a:t>
            </a:r>
          </a:p>
        </p:txBody>
      </p:sp>
      <p:cxnSp>
        <p:nvCxnSpPr>
          <p:cNvPr id="30" name="Straight Connector 15">
            <a:extLst>
              <a:ext uri="{FF2B5EF4-FFF2-40B4-BE49-F238E27FC236}">
                <a16:creationId xmlns:a16="http://schemas.microsoft.com/office/drawing/2014/main" id="{ECA59438-7D0F-1A47-9537-F7DA88689EAF}"/>
              </a:ext>
            </a:extLst>
          </p:cNvPr>
          <p:cNvCxnSpPr>
            <a:cxnSpLocks/>
          </p:cNvCxnSpPr>
          <p:nvPr userDrawn="1"/>
        </p:nvCxnSpPr>
        <p:spPr>
          <a:xfrm>
            <a:off x="4112392" y="1463040"/>
            <a:ext cx="0" cy="4672321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Marcador de texto 2">
            <a:extLst>
              <a:ext uri="{FF2B5EF4-FFF2-40B4-BE49-F238E27FC236}">
                <a16:creationId xmlns:a16="http://schemas.microsoft.com/office/drawing/2014/main" id="{590CA816-0573-4C31-B214-4DBD490C17CC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285712E-80BE-4E21-874E-35D05E89225C}"/>
              </a:ext>
            </a:extLst>
          </p:cNvPr>
          <p:cNvSpPr>
            <a:spLocks noGrp="1"/>
          </p:cNvSpPr>
          <p:nvPr>
            <p:ph type="body" idx="28" hasCustomPrompt="1"/>
          </p:nvPr>
        </p:nvSpPr>
        <p:spPr>
          <a:xfrm>
            <a:off x="4327995" y="1396800"/>
            <a:ext cx="1522202" cy="68777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600" b="1" i="0" spc="-30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5" name="Text Placeholder 12" descr="Body text will be presented like this">
            <a:extLst>
              <a:ext uri="{FF2B5EF4-FFF2-40B4-BE49-F238E27FC236}">
                <a16:creationId xmlns:a16="http://schemas.microsoft.com/office/drawing/2014/main" id="{86FAD558-0B34-4904-946F-59FF6F2028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27995" y="2944799"/>
            <a:ext cx="3528000" cy="3204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FA37F7A4-1800-4DA5-9214-8AE28D3A2E7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27995" y="2196000"/>
            <a:ext cx="3528000" cy="57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i="0">
                <a:solidFill>
                  <a:schemeClr val="accent2"/>
                </a:solidFill>
                <a:latin typeface="+mj-lt"/>
              </a:defRPr>
            </a:lvl1pPr>
            <a:lvl2pPr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D14BFBC8-FBBA-4AB7-8DCC-7C10FD9D10DD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8287200" y="1396800"/>
            <a:ext cx="1522202" cy="68777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600" b="1" i="0" spc="-300">
                <a:solidFill>
                  <a:schemeClr val="accent3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8" name="Text Placeholder 12" descr="Body text will be presented like this">
            <a:extLst>
              <a:ext uri="{FF2B5EF4-FFF2-40B4-BE49-F238E27FC236}">
                <a16:creationId xmlns:a16="http://schemas.microsoft.com/office/drawing/2014/main" id="{2B54DA73-0A92-47EA-B6B3-24D9A4A2FE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87200" y="2944799"/>
            <a:ext cx="3528000" cy="3204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8">
            <a:extLst>
              <a:ext uri="{FF2B5EF4-FFF2-40B4-BE49-F238E27FC236}">
                <a16:creationId xmlns:a16="http://schemas.microsoft.com/office/drawing/2014/main" id="{6114B90A-79C3-4FCC-BB74-C238A76DF9C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287200" y="2196000"/>
            <a:ext cx="3528000" cy="576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i="0">
                <a:solidFill>
                  <a:schemeClr val="accent3"/>
                </a:solidFill>
                <a:latin typeface="+mj-lt"/>
              </a:defRPr>
            </a:lvl1pPr>
            <a:lvl2pPr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200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0" name="Straight Connector 15">
            <a:extLst>
              <a:ext uri="{FF2B5EF4-FFF2-40B4-BE49-F238E27FC236}">
                <a16:creationId xmlns:a16="http://schemas.microsoft.com/office/drawing/2014/main" id="{5496EEF5-BC23-4301-AF87-AF7AEBA6EB33}"/>
              </a:ext>
            </a:extLst>
          </p:cNvPr>
          <p:cNvCxnSpPr>
            <a:cxnSpLocks/>
          </p:cNvCxnSpPr>
          <p:nvPr userDrawn="1"/>
        </p:nvCxnSpPr>
        <p:spPr>
          <a:xfrm>
            <a:off x="8071598" y="1463040"/>
            <a:ext cx="0" cy="4672321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B86186D-0D62-4F6A-AAC0-7967720E3A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30115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4 columns &amp;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712543-C931-4CDB-8C18-B6AF63B40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810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712543-C931-4CDB-8C18-B6AF63B4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ángulo 13">
            <a:extLst>
              <a:ext uri="{FF2B5EF4-FFF2-40B4-BE49-F238E27FC236}">
                <a16:creationId xmlns:a16="http://schemas.microsoft.com/office/drawing/2014/main" id="{0233A445-5D10-E144-B11F-2324AE2F4098}"/>
              </a:ext>
            </a:extLst>
          </p:cNvPr>
          <p:cNvSpPr/>
          <p:nvPr userDrawn="1"/>
        </p:nvSpPr>
        <p:spPr>
          <a:xfrm flipH="1">
            <a:off x="0" y="1396800"/>
            <a:ext cx="12192000" cy="475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Text Placeholder 12" descr="Body text will be presented like this">
            <a:extLst>
              <a:ext uri="{FF2B5EF4-FFF2-40B4-BE49-F238E27FC236}">
                <a16:creationId xmlns:a16="http://schemas.microsoft.com/office/drawing/2014/main" id="{222F074C-9474-1441-92BA-E96D35681F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8790" y="1684800"/>
            <a:ext cx="2628000" cy="4176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 descr="Body text will be presented like this">
            <a:extLst>
              <a:ext uri="{FF2B5EF4-FFF2-40B4-BE49-F238E27FC236}">
                <a16:creationId xmlns:a16="http://schemas.microsoft.com/office/drawing/2014/main" id="{E123D2C1-20C7-B24D-B631-0B216E71BB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08260" y="1684800"/>
            <a:ext cx="2628000" cy="4176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 descr="Body text will be presented like this">
            <a:extLst>
              <a:ext uri="{FF2B5EF4-FFF2-40B4-BE49-F238E27FC236}">
                <a16:creationId xmlns:a16="http://schemas.microsoft.com/office/drawing/2014/main" id="{4EBFC386-3520-B542-A356-7958C9441B9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7730" y="1684800"/>
            <a:ext cx="2628000" cy="4176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2" descr="Body text will be presented like this">
            <a:extLst>
              <a:ext uri="{FF2B5EF4-FFF2-40B4-BE49-F238E27FC236}">
                <a16:creationId xmlns:a16="http://schemas.microsoft.com/office/drawing/2014/main" id="{B39FD9AC-9727-2A48-88FA-87D0E68DBD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87200" y="1684800"/>
            <a:ext cx="2628000" cy="4176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3F0C780B-1E6E-4C86-B20D-A99207ADDDEE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24014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E7489F-CE52-4DFB-AA46-1322AC079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5575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Simp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arcador de posición de imagen 2">
            <a:extLst>
              <a:ext uri="{FF2B5EF4-FFF2-40B4-BE49-F238E27FC236}">
                <a16:creationId xmlns:a16="http://schemas.microsoft.com/office/drawing/2014/main" id="{1827C2A2-0134-4391-96A1-5B941A0E64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38529" y="-14050"/>
            <a:ext cx="5670915" cy="6877222"/>
          </a:xfrm>
          <a:custGeom>
            <a:avLst/>
            <a:gdLst>
              <a:gd name="connsiteX0" fmla="*/ 0 w 4592124"/>
              <a:gd name="connsiteY0" fmla="*/ 0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0 w 4592124"/>
              <a:gd name="connsiteY4" fmla="*/ 0 h 6858000"/>
              <a:gd name="connsiteX0" fmla="*/ 2549525 w 4592124"/>
              <a:gd name="connsiteY0" fmla="*/ 1058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2549525 w 4592124"/>
              <a:gd name="connsiteY4" fmla="*/ 1058 h 6858000"/>
              <a:gd name="connsiteX0" fmla="*/ 2549525 w 4592124"/>
              <a:gd name="connsiteY0" fmla="*/ 0 h 6856942"/>
              <a:gd name="connsiteX1" fmla="*/ 4592124 w 4592124"/>
              <a:gd name="connsiteY1" fmla="*/ 1371762 h 6856942"/>
              <a:gd name="connsiteX2" fmla="*/ 4592124 w 4592124"/>
              <a:gd name="connsiteY2" fmla="*/ 6856942 h 6856942"/>
              <a:gd name="connsiteX3" fmla="*/ 0 w 4592124"/>
              <a:gd name="connsiteY3" fmla="*/ 6856942 h 6856942"/>
              <a:gd name="connsiteX4" fmla="*/ 2549525 w 4592124"/>
              <a:gd name="connsiteY4" fmla="*/ 0 h 6856942"/>
              <a:gd name="connsiteX0" fmla="*/ 2045812 w 4592124"/>
              <a:gd name="connsiteY0" fmla="*/ 1058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45812 w 4592124"/>
              <a:gd name="connsiteY4" fmla="*/ 1058 h 5485180"/>
              <a:gd name="connsiteX0" fmla="*/ 2028628 w 4592124"/>
              <a:gd name="connsiteY0" fmla="*/ 36027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28628 w 4592124"/>
              <a:gd name="connsiteY4" fmla="*/ 36027 h 5485180"/>
              <a:gd name="connsiteX0" fmla="*/ 2028628 w 4592124"/>
              <a:gd name="connsiteY0" fmla="*/ 4509 h 5453662"/>
              <a:gd name="connsiteX1" fmla="*/ 4568296 w 4592124"/>
              <a:gd name="connsiteY1" fmla="*/ 0 h 5453662"/>
              <a:gd name="connsiteX2" fmla="*/ 4592124 w 4592124"/>
              <a:gd name="connsiteY2" fmla="*/ 5453662 h 5453662"/>
              <a:gd name="connsiteX3" fmla="*/ 0 w 4592124"/>
              <a:gd name="connsiteY3" fmla="*/ 5453662 h 5453662"/>
              <a:gd name="connsiteX4" fmla="*/ 2028628 w 4592124"/>
              <a:gd name="connsiteY4" fmla="*/ 4509 h 5453662"/>
              <a:gd name="connsiteX0" fmla="*/ 2028628 w 4743341"/>
              <a:gd name="connsiteY0" fmla="*/ 4509 h 5460656"/>
              <a:gd name="connsiteX1" fmla="*/ 4568296 w 4743341"/>
              <a:gd name="connsiteY1" fmla="*/ 0 h 5460656"/>
              <a:gd name="connsiteX2" fmla="*/ 4743341 w 4743341"/>
              <a:gd name="connsiteY2" fmla="*/ 5460656 h 5460656"/>
              <a:gd name="connsiteX3" fmla="*/ 0 w 4743341"/>
              <a:gd name="connsiteY3" fmla="*/ 5453662 h 5460656"/>
              <a:gd name="connsiteX4" fmla="*/ 2028628 w 4743341"/>
              <a:gd name="connsiteY4" fmla="*/ 4509 h 5460656"/>
              <a:gd name="connsiteX0" fmla="*/ 2028628 w 4760755"/>
              <a:gd name="connsiteY0" fmla="*/ 4509 h 5460656"/>
              <a:gd name="connsiteX1" fmla="*/ 4760755 w 4760755"/>
              <a:gd name="connsiteY1" fmla="*/ 0 h 5460656"/>
              <a:gd name="connsiteX2" fmla="*/ 4743341 w 4760755"/>
              <a:gd name="connsiteY2" fmla="*/ 5460656 h 5460656"/>
              <a:gd name="connsiteX3" fmla="*/ 0 w 4760755"/>
              <a:gd name="connsiteY3" fmla="*/ 5453662 h 5460656"/>
              <a:gd name="connsiteX4" fmla="*/ 2028628 w 4760755"/>
              <a:gd name="connsiteY4" fmla="*/ 4509 h 5460656"/>
              <a:gd name="connsiteX0" fmla="*/ 2042201 w 4774328"/>
              <a:gd name="connsiteY0" fmla="*/ 4509 h 5467473"/>
              <a:gd name="connsiteX1" fmla="*/ 4774328 w 4774328"/>
              <a:gd name="connsiteY1" fmla="*/ 0 h 5467473"/>
              <a:gd name="connsiteX2" fmla="*/ 4756914 w 4774328"/>
              <a:gd name="connsiteY2" fmla="*/ 5460656 h 5467473"/>
              <a:gd name="connsiteX3" fmla="*/ 0 w 4774328"/>
              <a:gd name="connsiteY3" fmla="*/ 5467473 h 5467473"/>
              <a:gd name="connsiteX4" fmla="*/ 2042201 w 4774328"/>
              <a:gd name="connsiteY4" fmla="*/ 4509 h 5467473"/>
              <a:gd name="connsiteX0" fmla="*/ 2042201 w 4774328"/>
              <a:gd name="connsiteY0" fmla="*/ 4509 h 5474466"/>
              <a:gd name="connsiteX1" fmla="*/ 4774328 w 4774328"/>
              <a:gd name="connsiteY1" fmla="*/ 0 h 5474466"/>
              <a:gd name="connsiteX2" fmla="*/ 4765962 w 4774328"/>
              <a:gd name="connsiteY2" fmla="*/ 5474466 h 5474466"/>
              <a:gd name="connsiteX3" fmla="*/ 0 w 4774328"/>
              <a:gd name="connsiteY3" fmla="*/ 5467473 h 5474466"/>
              <a:gd name="connsiteX4" fmla="*/ 2042201 w 4774328"/>
              <a:gd name="connsiteY4" fmla="*/ 4509 h 5474466"/>
              <a:gd name="connsiteX0" fmla="*/ 2042201 w 4778853"/>
              <a:gd name="connsiteY0" fmla="*/ 0 h 5469957"/>
              <a:gd name="connsiteX1" fmla="*/ 4778853 w 4778853"/>
              <a:gd name="connsiteY1" fmla="*/ 4698 h 5469957"/>
              <a:gd name="connsiteX2" fmla="*/ 4765962 w 4778853"/>
              <a:gd name="connsiteY2" fmla="*/ 5469957 h 5469957"/>
              <a:gd name="connsiteX3" fmla="*/ 0 w 4778853"/>
              <a:gd name="connsiteY3" fmla="*/ 5462964 h 5469957"/>
              <a:gd name="connsiteX4" fmla="*/ 2042201 w 4778853"/>
              <a:gd name="connsiteY4" fmla="*/ 0 h 5469957"/>
              <a:gd name="connsiteX0" fmla="*/ 2042201 w 4781135"/>
              <a:gd name="connsiteY0" fmla="*/ 0 h 5462964"/>
              <a:gd name="connsiteX1" fmla="*/ 4778853 w 4781135"/>
              <a:gd name="connsiteY1" fmla="*/ 4698 h 5462964"/>
              <a:gd name="connsiteX2" fmla="*/ 4779535 w 4781135"/>
              <a:gd name="connsiteY2" fmla="*/ 5460751 h 5462964"/>
              <a:gd name="connsiteX3" fmla="*/ 0 w 4781135"/>
              <a:gd name="connsiteY3" fmla="*/ 5462964 h 5462964"/>
              <a:gd name="connsiteX4" fmla="*/ 2042201 w 4781135"/>
              <a:gd name="connsiteY4" fmla="*/ 0 h 5462964"/>
              <a:gd name="connsiteX0" fmla="*/ 2046725 w 4781135"/>
              <a:gd name="connsiteY0" fmla="*/ 0 h 5467567"/>
              <a:gd name="connsiteX1" fmla="*/ 4778853 w 4781135"/>
              <a:gd name="connsiteY1" fmla="*/ 9301 h 5467567"/>
              <a:gd name="connsiteX2" fmla="*/ 4779535 w 4781135"/>
              <a:gd name="connsiteY2" fmla="*/ 5465354 h 5467567"/>
              <a:gd name="connsiteX3" fmla="*/ 0 w 4781135"/>
              <a:gd name="connsiteY3" fmla="*/ 5467567 h 5467567"/>
              <a:gd name="connsiteX4" fmla="*/ 2046725 w 4781135"/>
              <a:gd name="connsiteY4" fmla="*/ 0 h 5467567"/>
              <a:gd name="connsiteX0" fmla="*/ 2046725 w 4779604"/>
              <a:gd name="connsiteY0" fmla="*/ 2821 h 5470388"/>
              <a:gd name="connsiteX1" fmla="*/ 4433343 w 4779604"/>
              <a:gd name="connsiteY1" fmla="*/ 0 h 5470388"/>
              <a:gd name="connsiteX2" fmla="*/ 4779535 w 4779604"/>
              <a:gd name="connsiteY2" fmla="*/ 5468175 h 5470388"/>
              <a:gd name="connsiteX3" fmla="*/ 0 w 4779604"/>
              <a:gd name="connsiteY3" fmla="*/ 5470388 h 5470388"/>
              <a:gd name="connsiteX4" fmla="*/ 2046725 w 4779604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3343" h="5470388">
                <a:moveTo>
                  <a:pt x="2046725" y="2821"/>
                </a:moveTo>
                <a:lnTo>
                  <a:pt x="4433343" y="0"/>
                </a:lnTo>
                <a:cubicBezTo>
                  <a:pt x="4427538" y="1820219"/>
                  <a:pt x="4431887" y="3647956"/>
                  <a:pt x="4426082" y="5468175"/>
                </a:cubicBezTo>
                <a:lnTo>
                  <a:pt x="0" y="5470388"/>
                </a:lnTo>
                <a:lnTo>
                  <a:pt x="2046725" y="2821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3107E2-3D7C-4EA6-A3AE-B45AC3CE49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987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F3107E2-3D7C-4EA6-A3AE-B45AC3CE49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ítulo 1">
            <a:extLst>
              <a:ext uri="{FF2B5EF4-FFF2-40B4-BE49-F238E27FC236}">
                <a16:creationId xmlns:a16="http://schemas.microsoft.com/office/drawing/2014/main" id="{4BFB3231-EC8D-AC43-B9D1-D6556772F6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8500" y="2924496"/>
            <a:ext cx="5397500" cy="636702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100000"/>
              </a:lnSpc>
              <a:defRPr sz="3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s-ES" err="1"/>
              <a:t>Presentation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goes</a:t>
            </a:r>
            <a:r>
              <a:rPr lang="es-ES"/>
              <a:t> </a:t>
            </a:r>
            <a:r>
              <a:rPr lang="es-ES" err="1"/>
              <a:t>here</a:t>
            </a:r>
            <a:endParaRPr lang="es-ES"/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EA5FD70C-DAB3-DD4D-8618-2EAF4E482F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8500" y="4336157"/>
            <a:ext cx="5397500" cy="81402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2400" b="1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goes</a:t>
            </a:r>
            <a:r>
              <a:rPr lang="es-ES"/>
              <a:t> </a:t>
            </a:r>
            <a:r>
              <a:rPr lang="es-ES" err="1"/>
              <a:t>here</a:t>
            </a:r>
            <a:endParaRPr lang="es-E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FD6D7-D8CF-4E13-8EC2-8A937ABF2342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E1FB4FA-95BE-468B-BFE7-E073740D98C9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DFA3AF9-3B29-475E-A8CB-9EE6D80472C1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29189E1-7B64-442A-907F-CC6700ED630B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Marcador de texto 10">
            <a:extLst>
              <a:ext uri="{FF2B5EF4-FFF2-40B4-BE49-F238E27FC236}">
                <a16:creationId xmlns:a16="http://schemas.microsoft.com/office/drawing/2014/main" id="{B2DD11A6-CA44-411D-B8C7-946C195B8B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8500" y="5734050"/>
            <a:ext cx="5397500" cy="674688"/>
          </a:xfrm>
          <a:prstGeom prst="rect">
            <a:avLst/>
          </a:prstGeom>
        </p:spPr>
        <p:txBody>
          <a:bodyPr/>
          <a:lstStyle>
            <a:lvl1pPr algn="l">
              <a:lnSpc>
                <a:spcPct val="140000"/>
              </a:lnSpc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</a:defRPr>
            </a:lvl1pPr>
            <a:lvl2pPr algn="ctr">
              <a:buFontTx/>
              <a:buNone/>
              <a:defRPr sz="1200">
                <a:solidFill>
                  <a:schemeClr val="bg1"/>
                </a:solidFill>
              </a:defRPr>
            </a:lvl2pPr>
            <a:lvl3pPr algn="ctr">
              <a:buFontTx/>
              <a:buNone/>
              <a:defRPr sz="1200">
                <a:solidFill>
                  <a:schemeClr val="bg1"/>
                </a:solidFill>
              </a:defRPr>
            </a:lvl3pPr>
            <a:lvl4pPr algn="ctr">
              <a:buFontTx/>
              <a:buNone/>
              <a:defRPr sz="1200">
                <a:solidFill>
                  <a:schemeClr val="bg1"/>
                </a:solidFill>
              </a:defRPr>
            </a:lvl4pPr>
            <a:lvl5pPr algn="ctr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err="1"/>
              <a:t>Name</a:t>
            </a:r>
            <a:r>
              <a:rPr lang="es-ES"/>
              <a:t> </a:t>
            </a:r>
            <a:br>
              <a:rPr lang="es-ES"/>
            </a:br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pic>
        <p:nvPicPr>
          <p:cNvPr id="17" name="Graphic 10">
            <a:extLst>
              <a:ext uri="{FF2B5EF4-FFF2-40B4-BE49-F238E27FC236}">
                <a16:creationId xmlns:a16="http://schemas.microsoft.com/office/drawing/2014/main" id="{34696A26-5DA4-4450-A8B9-0A832630CE2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5959" y="532355"/>
            <a:ext cx="2435642" cy="585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1641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712543-C931-4CDB-8C18-B6AF63B40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414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712543-C931-4CDB-8C18-B6AF63B4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3F0C780B-1E6E-4C86-B20D-A99207ADDDEE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24014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E7489F-CE52-4DFB-AA46-1322AC079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Marcador de texto 3">
            <a:extLst>
              <a:ext uri="{FF2B5EF4-FFF2-40B4-BE49-F238E27FC236}">
                <a16:creationId xmlns:a16="http://schemas.microsoft.com/office/drawing/2014/main" id="{0C49E653-61AB-48B8-9785-162E18035F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0333" y="3774087"/>
            <a:ext cx="1905668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rgbClr val="DA291C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A66AF26-BD64-4A02-B322-7168C7222F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8790" y="4090931"/>
            <a:ext cx="1911139" cy="32040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EAE9864-12F5-4411-80F9-60E742D614A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7200" y="4571531"/>
            <a:ext cx="1911139" cy="320400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BF0ACD57-68A3-4F4B-8D46-AB173F72D4A6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380334" y="1610580"/>
            <a:ext cx="1905668" cy="190566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sp>
        <p:nvSpPr>
          <p:cNvPr id="23" name="Marcador de texto 3">
            <a:extLst>
              <a:ext uri="{FF2B5EF4-FFF2-40B4-BE49-F238E27FC236}">
                <a16:creationId xmlns:a16="http://schemas.microsoft.com/office/drawing/2014/main" id="{B2615C21-B865-493A-A609-CEA33678B69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777076" y="3774087"/>
            <a:ext cx="1905668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rgbClr val="DA291C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6E0F5BF-7F55-4F2F-835C-C9483763A4EB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765533" y="4090931"/>
            <a:ext cx="1911139" cy="32040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BFA52962-93FE-479B-9C23-496A842C75F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2763943" y="4571531"/>
            <a:ext cx="1911139" cy="320400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9374E478-A589-44D9-95BF-941C56606E7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64893" y="3774087"/>
            <a:ext cx="1905668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rgbClr val="DA291C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86B245A-78BF-428A-89B5-1291FF0856CD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153350" y="4090931"/>
            <a:ext cx="1911139" cy="32040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F9F295AE-60AC-46EA-813A-91CA58A38AD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5151760" y="4571531"/>
            <a:ext cx="1911139" cy="320400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33" name="Marcador de texto 3">
            <a:extLst>
              <a:ext uri="{FF2B5EF4-FFF2-40B4-BE49-F238E27FC236}">
                <a16:creationId xmlns:a16="http://schemas.microsoft.com/office/drawing/2014/main" id="{429AF4EC-4ECF-45FD-81B9-6BB2E0BB724A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518180" y="3774087"/>
            <a:ext cx="1905668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rgbClr val="DA291C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0927241F-B0ED-471B-9A04-E5C8EDCCD84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506637" y="4094487"/>
            <a:ext cx="1911139" cy="32040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481F0965-84DB-441B-A919-9EB8F9A9522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505047" y="4575087"/>
            <a:ext cx="1911139" cy="320400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37" name="Marcador de texto 3">
            <a:extLst>
              <a:ext uri="{FF2B5EF4-FFF2-40B4-BE49-F238E27FC236}">
                <a16:creationId xmlns:a16="http://schemas.microsoft.com/office/drawing/2014/main" id="{DF1426F8-ECFC-437E-9694-A0D593323E4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905997" y="3774087"/>
            <a:ext cx="1905668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rgbClr val="DA291C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23BEDB5C-F691-4801-95E9-B3AD4EF56B8E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894454" y="4094487"/>
            <a:ext cx="1911139" cy="32040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D9E6FC8A-0FF6-47BA-AF19-9D4278857684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892864" y="4575087"/>
            <a:ext cx="1911139" cy="320400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2D16484-7E8D-4B41-8F72-7DCD4D01B856}"/>
              </a:ext>
            </a:extLst>
          </p:cNvPr>
          <p:cNvGrpSpPr/>
          <p:nvPr userDrawn="1"/>
        </p:nvGrpSpPr>
        <p:grpSpPr>
          <a:xfrm>
            <a:off x="2515087" y="1393826"/>
            <a:ext cx="7130006" cy="3017505"/>
            <a:chOff x="2515087" y="1610580"/>
            <a:chExt cx="7130006" cy="3284907"/>
          </a:xfrm>
        </p:grpSpPr>
        <p:cxnSp>
          <p:nvCxnSpPr>
            <p:cNvPr id="32" name="Straight Connector 15">
              <a:extLst>
                <a:ext uri="{FF2B5EF4-FFF2-40B4-BE49-F238E27FC236}">
                  <a16:creationId xmlns:a16="http://schemas.microsoft.com/office/drawing/2014/main" id="{62EFDC07-05CE-40E0-BBF2-3F5FE4F2BFA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515087" y="1610580"/>
              <a:ext cx="0" cy="3281351"/>
            </a:xfrm>
            <a:prstGeom prst="line">
              <a:avLst/>
            </a:prstGeom>
            <a:ln>
              <a:solidFill>
                <a:srgbClr val="DA281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15">
              <a:extLst>
                <a:ext uri="{FF2B5EF4-FFF2-40B4-BE49-F238E27FC236}">
                  <a16:creationId xmlns:a16="http://schemas.microsoft.com/office/drawing/2014/main" id="{751022F7-67C4-44EC-B85A-6CC9CBA4E48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918763" y="1614136"/>
              <a:ext cx="0" cy="3281351"/>
            </a:xfrm>
            <a:prstGeom prst="line">
              <a:avLst/>
            </a:prstGeom>
            <a:ln>
              <a:solidFill>
                <a:srgbClr val="DA281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15">
              <a:extLst>
                <a:ext uri="{FF2B5EF4-FFF2-40B4-BE49-F238E27FC236}">
                  <a16:creationId xmlns:a16="http://schemas.microsoft.com/office/drawing/2014/main" id="{0C40ABE0-56FD-4F90-B5C1-30846769BC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287715" y="1614136"/>
              <a:ext cx="0" cy="3281351"/>
            </a:xfrm>
            <a:prstGeom prst="line">
              <a:avLst/>
            </a:prstGeom>
            <a:ln>
              <a:solidFill>
                <a:srgbClr val="DA281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15">
              <a:extLst>
                <a:ext uri="{FF2B5EF4-FFF2-40B4-BE49-F238E27FC236}">
                  <a16:creationId xmlns:a16="http://schemas.microsoft.com/office/drawing/2014/main" id="{592E433E-C13F-44B3-B442-1FA9152C06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645093" y="1610580"/>
              <a:ext cx="0" cy="3281351"/>
            </a:xfrm>
            <a:prstGeom prst="line">
              <a:avLst/>
            </a:prstGeom>
            <a:ln>
              <a:solidFill>
                <a:srgbClr val="DA281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Picture Placeholder 5">
            <a:extLst>
              <a:ext uri="{FF2B5EF4-FFF2-40B4-BE49-F238E27FC236}">
                <a16:creationId xmlns:a16="http://schemas.microsoft.com/office/drawing/2014/main" id="{641C083B-D083-41C9-853F-A2EF50EC7E2F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2778509" y="1523332"/>
            <a:ext cx="1905668" cy="190566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sp>
        <p:nvSpPr>
          <p:cNvPr id="47" name="Picture Placeholder 5">
            <a:extLst>
              <a:ext uri="{FF2B5EF4-FFF2-40B4-BE49-F238E27FC236}">
                <a16:creationId xmlns:a16="http://schemas.microsoft.com/office/drawing/2014/main" id="{CF257D79-2F30-471E-9052-D060FB7742E4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5164893" y="1523332"/>
            <a:ext cx="1905668" cy="190566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sp>
        <p:nvSpPr>
          <p:cNvPr id="48" name="Picture Placeholder 5">
            <a:extLst>
              <a:ext uri="{FF2B5EF4-FFF2-40B4-BE49-F238E27FC236}">
                <a16:creationId xmlns:a16="http://schemas.microsoft.com/office/drawing/2014/main" id="{570866A8-28A8-4BF0-88CE-1F0D0D0FECD1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7504870" y="1523332"/>
            <a:ext cx="1905668" cy="190566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sp>
        <p:nvSpPr>
          <p:cNvPr id="49" name="Picture Placeholder 5">
            <a:extLst>
              <a:ext uri="{FF2B5EF4-FFF2-40B4-BE49-F238E27FC236}">
                <a16:creationId xmlns:a16="http://schemas.microsoft.com/office/drawing/2014/main" id="{BC03A5DF-5669-49F5-A317-7031368E8C93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898335" y="1523332"/>
            <a:ext cx="1905668" cy="190566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</p:spTree>
    <p:extLst>
      <p:ext uri="{BB962C8B-B14F-4D97-AF65-F5344CB8AC3E}">
        <p14:creationId xmlns:p14="http://schemas.microsoft.com/office/powerpoint/2010/main" val="30052127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D712543-C931-4CDB-8C18-B6AF63B402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32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D712543-C931-4CDB-8C18-B6AF63B402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3F0C780B-1E6E-4C86-B20D-A99207ADDDEE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240142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E7489F-CE52-4DFB-AA46-1322AC079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Marcador de texto 3">
            <a:extLst>
              <a:ext uri="{FF2B5EF4-FFF2-40B4-BE49-F238E27FC236}">
                <a16:creationId xmlns:a16="http://schemas.microsoft.com/office/drawing/2014/main" id="{0C49E653-61AB-48B8-9785-162E18035F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66737" y="1962538"/>
            <a:ext cx="2158119" cy="355489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rgbClr val="DA291C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0A66AF26-BD64-4A02-B322-7168C7222F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55195" y="2282938"/>
            <a:ext cx="2164315" cy="355489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EAE9864-12F5-4411-80F9-60E742D614A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555195" y="2753237"/>
            <a:ext cx="2164314" cy="320400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BF0ACD57-68A3-4F4B-8D46-AB173F72D4A6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380334" y="1962539"/>
            <a:ext cx="1026258" cy="102625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cxnSp>
        <p:nvCxnSpPr>
          <p:cNvPr id="32" name="Straight Connector 15">
            <a:extLst>
              <a:ext uri="{FF2B5EF4-FFF2-40B4-BE49-F238E27FC236}">
                <a16:creationId xmlns:a16="http://schemas.microsoft.com/office/drawing/2014/main" id="{62EFDC07-05CE-40E0-BBF2-3F5FE4F2BFA4}"/>
              </a:ext>
            </a:extLst>
          </p:cNvPr>
          <p:cNvCxnSpPr>
            <a:cxnSpLocks/>
          </p:cNvCxnSpPr>
          <p:nvPr userDrawn="1"/>
        </p:nvCxnSpPr>
        <p:spPr>
          <a:xfrm>
            <a:off x="4050698" y="1830625"/>
            <a:ext cx="0" cy="1243012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Marcador de texto 3">
            <a:extLst>
              <a:ext uri="{FF2B5EF4-FFF2-40B4-BE49-F238E27FC236}">
                <a16:creationId xmlns:a16="http://schemas.microsoft.com/office/drawing/2014/main" id="{BCE3AAE0-D369-4315-94A2-F25C633DE52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635764" y="1962538"/>
            <a:ext cx="2158119" cy="355489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rgbClr val="DA291C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D95CA2C9-7129-49C4-A812-F443EBFE348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624222" y="2282938"/>
            <a:ext cx="2164315" cy="355489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FB42D584-A464-4550-AF4B-E8AE0BF08D9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624222" y="2753237"/>
            <a:ext cx="2164314" cy="320400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44" name="Picture Placeholder 5">
            <a:extLst>
              <a:ext uri="{FF2B5EF4-FFF2-40B4-BE49-F238E27FC236}">
                <a16:creationId xmlns:a16="http://schemas.microsoft.com/office/drawing/2014/main" id="{C35F13F6-0C27-4114-A91D-DC0B7873BD22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449361" y="1962539"/>
            <a:ext cx="1026258" cy="102625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cxnSp>
        <p:nvCxnSpPr>
          <p:cNvPr id="45" name="Straight Connector 15">
            <a:extLst>
              <a:ext uri="{FF2B5EF4-FFF2-40B4-BE49-F238E27FC236}">
                <a16:creationId xmlns:a16="http://schemas.microsoft.com/office/drawing/2014/main" id="{65D29506-A892-4E70-846E-86CD1E28D86E}"/>
              </a:ext>
            </a:extLst>
          </p:cNvPr>
          <p:cNvCxnSpPr>
            <a:cxnSpLocks/>
          </p:cNvCxnSpPr>
          <p:nvPr userDrawn="1"/>
        </p:nvCxnSpPr>
        <p:spPr>
          <a:xfrm>
            <a:off x="8119725" y="1830625"/>
            <a:ext cx="0" cy="1243012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Marcador de texto 3">
            <a:extLst>
              <a:ext uri="{FF2B5EF4-FFF2-40B4-BE49-F238E27FC236}">
                <a16:creationId xmlns:a16="http://schemas.microsoft.com/office/drawing/2014/main" id="{0E31059C-E567-413E-B7CE-10A5CD9A9D8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662406" y="1957297"/>
            <a:ext cx="2158119" cy="355489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rgbClr val="DA291C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23D21ECC-9BE4-41DE-A2A6-E5D6E845B01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650864" y="2277697"/>
            <a:ext cx="2164315" cy="355489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B8686ED0-9DF8-45C5-8455-D3EE5E06422C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9650864" y="2747996"/>
            <a:ext cx="2164314" cy="320400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53" name="Picture Placeholder 5">
            <a:extLst>
              <a:ext uri="{FF2B5EF4-FFF2-40B4-BE49-F238E27FC236}">
                <a16:creationId xmlns:a16="http://schemas.microsoft.com/office/drawing/2014/main" id="{C070D455-0FFF-40E8-98DE-98F27F76D062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8476003" y="1957298"/>
            <a:ext cx="1026258" cy="102625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sp>
        <p:nvSpPr>
          <p:cNvPr id="54" name="Marcador de texto 3">
            <a:extLst>
              <a:ext uri="{FF2B5EF4-FFF2-40B4-BE49-F238E27FC236}">
                <a16:creationId xmlns:a16="http://schemas.microsoft.com/office/drawing/2014/main" id="{30B2BE68-84A6-4D3D-92AF-CD4AF8BB1E8C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1561412" y="3902474"/>
            <a:ext cx="2158119" cy="355489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rgbClr val="DA291C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369E918D-E244-40ED-BC9D-84A49D09663E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1549870" y="4222874"/>
            <a:ext cx="2164315" cy="355489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F04FE272-AEEE-4C91-8BD6-85896A1F2AB9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1549870" y="4693173"/>
            <a:ext cx="2164314" cy="320400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57" name="Picture Placeholder 5">
            <a:extLst>
              <a:ext uri="{FF2B5EF4-FFF2-40B4-BE49-F238E27FC236}">
                <a16:creationId xmlns:a16="http://schemas.microsoft.com/office/drawing/2014/main" id="{F9BBDF2E-3D99-40C0-AA28-A5CBB3739FAD}"/>
              </a:ext>
            </a:extLst>
          </p:cNvPr>
          <p:cNvSpPr>
            <a:spLocks noGrp="1"/>
          </p:cNvSpPr>
          <p:nvPr>
            <p:ph type="pic" sz="quarter" idx="66"/>
          </p:nvPr>
        </p:nvSpPr>
        <p:spPr>
          <a:xfrm>
            <a:off x="375009" y="3902475"/>
            <a:ext cx="1026258" cy="102625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cxnSp>
        <p:nvCxnSpPr>
          <p:cNvPr id="58" name="Straight Connector 15">
            <a:extLst>
              <a:ext uri="{FF2B5EF4-FFF2-40B4-BE49-F238E27FC236}">
                <a16:creationId xmlns:a16="http://schemas.microsoft.com/office/drawing/2014/main" id="{546AEE6F-35AE-452B-8B45-2A2DC0663862}"/>
              </a:ext>
            </a:extLst>
          </p:cNvPr>
          <p:cNvCxnSpPr>
            <a:cxnSpLocks/>
          </p:cNvCxnSpPr>
          <p:nvPr userDrawn="1"/>
        </p:nvCxnSpPr>
        <p:spPr>
          <a:xfrm>
            <a:off x="4051160" y="3770561"/>
            <a:ext cx="0" cy="1243012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Marcador de texto 3">
            <a:extLst>
              <a:ext uri="{FF2B5EF4-FFF2-40B4-BE49-F238E27FC236}">
                <a16:creationId xmlns:a16="http://schemas.microsoft.com/office/drawing/2014/main" id="{E4F2953D-F85B-44C8-B6E7-ACCB8A7EEC9A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630439" y="3902474"/>
            <a:ext cx="2158119" cy="355489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rgbClr val="DA291C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88C5B650-D6B6-492F-8E83-FCC0952F57B9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618897" y="4222874"/>
            <a:ext cx="2164315" cy="355489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93E14614-8D44-4BA1-802C-8E0213E80C69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5618897" y="4693173"/>
            <a:ext cx="2164314" cy="320400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62" name="Picture Placeholder 5">
            <a:extLst>
              <a:ext uri="{FF2B5EF4-FFF2-40B4-BE49-F238E27FC236}">
                <a16:creationId xmlns:a16="http://schemas.microsoft.com/office/drawing/2014/main" id="{699203F9-C767-457D-8E27-BD83F0C8BECA}"/>
              </a:ext>
            </a:extLst>
          </p:cNvPr>
          <p:cNvSpPr>
            <a:spLocks noGrp="1"/>
          </p:cNvSpPr>
          <p:nvPr>
            <p:ph type="pic" sz="quarter" idx="70"/>
          </p:nvPr>
        </p:nvSpPr>
        <p:spPr>
          <a:xfrm>
            <a:off x="4444036" y="3902475"/>
            <a:ext cx="1026258" cy="102625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cxnSp>
        <p:nvCxnSpPr>
          <p:cNvPr id="63" name="Straight Connector 15">
            <a:extLst>
              <a:ext uri="{FF2B5EF4-FFF2-40B4-BE49-F238E27FC236}">
                <a16:creationId xmlns:a16="http://schemas.microsoft.com/office/drawing/2014/main" id="{8811FCA7-1BA7-4B13-B0C1-798561E239A0}"/>
              </a:ext>
            </a:extLst>
          </p:cNvPr>
          <p:cNvCxnSpPr>
            <a:cxnSpLocks/>
          </p:cNvCxnSpPr>
          <p:nvPr userDrawn="1"/>
        </p:nvCxnSpPr>
        <p:spPr>
          <a:xfrm>
            <a:off x="8120187" y="3770561"/>
            <a:ext cx="0" cy="1243012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Marcador de texto 3">
            <a:extLst>
              <a:ext uri="{FF2B5EF4-FFF2-40B4-BE49-F238E27FC236}">
                <a16:creationId xmlns:a16="http://schemas.microsoft.com/office/drawing/2014/main" id="{30DB3B35-EEBC-4B03-882E-F9026CB891DE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9657081" y="3897233"/>
            <a:ext cx="2158119" cy="355489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rgbClr val="DA291C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C236C68A-D994-4F97-A78F-B29EAD8DECF7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9645539" y="4217633"/>
            <a:ext cx="2164315" cy="355489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DE31CA3A-07C0-42D0-B758-A5DCBD8D7C4B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9645539" y="4687932"/>
            <a:ext cx="2164314" cy="320400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67" name="Picture Placeholder 5">
            <a:extLst>
              <a:ext uri="{FF2B5EF4-FFF2-40B4-BE49-F238E27FC236}">
                <a16:creationId xmlns:a16="http://schemas.microsoft.com/office/drawing/2014/main" id="{A68FAB44-DC1D-4ECB-9CFE-4B4B24D71893}"/>
              </a:ext>
            </a:extLst>
          </p:cNvPr>
          <p:cNvSpPr>
            <a:spLocks noGrp="1"/>
          </p:cNvSpPr>
          <p:nvPr>
            <p:ph type="pic" sz="quarter" idx="74"/>
          </p:nvPr>
        </p:nvSpPr>
        <p:spPr>
          <a:xfrm>
            <a:off x="8470678" y="3897234"/>
            <a:ext cx="1026258" cy="1026258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</p:spTree>
    <p:extLst>
      <p:ext uri="{BB962C8B-B14F-4D97-AF65-F5344CB8AC3E}">
        <p14:creationId xmlns:p14="http://schemas.microsoft.com/office/powerpoint/2010/main" val="12200701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 rot="10800000">
            <a:off x="-8399" y="-1969"/>
            <a:ext cx="6114006" cy="6863178"/>
          </a:xfrm>
          <a:custGeom>
            <a:avLst/>
            <a:gdLst>
              <a:gd name="connsiteX0" fmla="*/ 0 w 3267919"/>
              <a:gd name="connsiteY0" fmla="*/ 0 h 6858000"/>
              <a:gd name="connsiteX1" fmla="*/ 3267919 w 3267919"/>
              <a:gd name="connsiteY1" fmla="*/ 0 h 6858000"/>
              <a:gd name="connsiteX2" fmla="*/ 3267919 w 3267919"/>
              <a:gd name="connsiteY2" fmla="*/ 6858000 h 6858000"/>
              <a:gd name="connsiteX3" fmla="*/ 0 w 3267919"/>
              <a:gd name="connsiteY3" fmla="*/ 6858000 h 6858000"/>
              <a:gd name="connsiteX4" fmla="*/ 0 w 3267919"/>
              <a:gd name="connsiteY4" fmla="*/ 0 h 6858000"/>
              <a:gd name="connsiteX0" fmla="*/ 2835797 w 6103716"/>
              <a:gd name="connsiteY0" fmla="*/ 0 h 6858000"/>
              <a:gd name="connsiteX1" fmla="*/ 6103716 w 6103716"/>
              <a:gd name="connsiteY1" fmla="*/ 0 h 6858000"/>
              <a:gd name="connsiteX2" fmla="*/ 6103716 w 6103716"/>
              <a:gd name="connsiteY2" fmla="*/ 6858000 h 6858000"/>
              <a:gd name="connsiteX3" fmla="*/ 0 w 6103716"/>
              <a:gd name="connsiteY3" fmla="*/ 6858000 h 6858000"/>
              <a:gd name="connsiteX4" fmla="*/ 2835797 w 6103716"/>
              <a:gd name="connsiteY4" fmla="*/ 0 h 6858000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6103716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7232248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6983416"/>
              <a:gd name="connsiteY0" fmla="*/ 0 h 6863788"/>
              <a:gd name="connsiteX1" fmla="*/ 5148805 w 6983416"/>
              <a:gd name="connsiteY1" fmla="*/ 0 h 6863788"/>
              <a:gd name="connsiteX2" fmla="*/ 6983392 w 6983416"/>
              <a:gd name="connsiteY2" fmla="*/ 6858000 h 6863788"/>
              <a:gd name="connsiteX3" fmla="*/ 0 w 6983416"/>
              <a:gd name="connsiteY3" fmla="*/ 6863788 h 6863788"/>
              <a:gd name="connsiteX4" fmla="*/ 2586941 w 6983416"/>
              <a:gd name="connsiteY4" fmla="*/ 0 h 6863788"/>
              <a:gd name="connsiteX0" fmla="*/ 2586941 w 6983421"/>
              <a:gd name="connsiteY0" fmla="*/ 0 h 6863788"/>
              <a:gd name="connsiteX1" fmla="*/ 5513407 w 6983421"/>
              <a:gd name="connsiteY1" fmla="*/ 0 h 6863788"/>
              <a:gd name="connsiteX2" fmla="*/ 6983392 w 6983421"/>
              <a:gd name="connsiteY2" fmla="*/ 6858000 h 6863788"/>
              <a:gd name="connsiteX3" fmla="*/ 0 w 6983421"/>
              <a:gd name="connsiteY3" fmla="*/ 6863788 h 6863788"/>
              <a:gd name="connsiteX4" fmla="*/ 2586941 w 6983421"/>
              <a:gd name="connsiteY4" fmla="*/ 0 h 6863788"/>
              <a:gd name="connsiteX0" fmla="*/ 2586941 w 5513407"/>
              <a:gd name="connsiteY0" fmla="*/ 0 h 6869575"/>
              <a:gd name="connsiteX1" fmla="*/ 5513407 w 5513407"/>
              <a:gd name="connsiteY1" fmla="*/ 0 h 6869575"/>
              <a:gd name="connsiteX2" fmla="*/ 5183529 w 5513407"/>
              <a:gd name="connsiteY2" fmla="*/ 6869575 h 6869575"/>
              <a:gd name="connsiteX3" fmla="*/ 0 w 5513407"/>
              <a:gd name="connsiteY3" fmla="*/ 6863788 h 6869575"/>
              <a:gd name="connsiteX4" fmla="*/ 2586941 w 5513407"/>
              <a:gd name="connsiteY4" fmla="*/ 0 h 6869575"/>
              <a:gd name="connsiteX0" fmla="*/ 2586941 w 5513407"/>
              <a:gd name="connsiteY0" fmla="*/ 0 h 6863788"/>
              <a:gd name="connsiteX1" fmla="*/ 5513407 w 5513407"/>
              <a:gd name="connsiteY1" fmla="*/ 0 h 6863788"/>
              <a:gd name="connsiteX2" fmla="*/ 5496045 w 5513407"/>
              <a:gd name="connsiteY2" fmla="*/ 6829064 h 6863788"/>
              <a:gd name="connsiteX3" fmla="*/ 0 w 5513407"/>
              <a:gd name="connsiteY3" fmla="*/ 6863788 h 6863788"/>
              <a:gd name="connsiteX4" fmla="*/ 2586941 w 5513407"/>
              <a:gd name="connsiteY4" fmla="*/ 0 h 6863788"/>
              <a:gd name="connsiteX0" fmla="*/ 2586941 w 5520913"/>
              <a:gd name="connsiteY0" fmla="*/ 0 h 6863788"/>
              <a:gd name="connsiteX1" fmla="*/ 5513407 w 5520913"/>
              <a:gd name="connsiteY1" fmla="*/ 0 h 6863788"/>
              <a:gd name="connsiteX2" fmla="*/ 5519195 w 5520913"/>
              <a:gd name="connsiteY2" fmla="*/ 6840638 h 6863788"/>
              <a:gd name="connsiteX3" fmla="*/ 0 w 5520913"/>
              <a:gd name="connsiteY3" fmla="*/ 6863788 h 6863788"/>
              <a:gd name="connsiteX4" fmla="*/ 2586941 w 5520913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52723 w 5509031"/>
              <a:gd name="connsiteY0" fmla="*/ 0 h 6852213"/>
              <a:gd name="connsiteX1" fmla="*/ 5479189 w 5509031"/>
              <a:gd name="connsiteY1" fmla="*/ 0 h 6852213"/>
              <a:gd name="connsiteX2" fmla="*/ 5508126 w 5509031"/>
              <a:gd name="connsiteY2" fmla="*/ 6852213 h 6852213"/>
              <a:gd name="connsiteX3" fmla="*/ 0 w 5509031"/>
              <a:gd name="connsiteY3" fmla="*/ 6789649 h 6852213"/>
              <a:gd name="connsiteX4" fmla="*/ 2552723 w 5509031"/>
              <a:gd name="connsiteY4" fmla="*/ 0 h 6852213"/>
              <a:gd name="connsiteX0" fmla="*/ 2552723 w 5494413"/>
              <a:gd name="connsiteY0" fmla="*/ 0 h 6789649"/>
              <a:gd name="connsiteX1" fmla="*/ 5479189 w 5494413"/>
              <a:gd name="connsiteY1" fmla="*/ 0 h 6789649"/>
              <a:gd name="connsiteX2" fmla="*/ 5493109 w 5494413"/>
              <a:gd name="connsiteY2" fmla="*/ 6606924 h 6789649"/>
              <a:gd name="connsiteX3" fmla="*/ 0 w 5494413"/>
              <a:gd name="connsiteY3" fmla="*/ 6789649 h 6789649"/>
              <a:gd name="connsiteX4" fmla="*/ 2552723 w 5494413"/>
              <a:gd name="connsiteY4" fmla="*/ 0 h 6789649"/>
              <a:gd name="connsiteX0" fmla="*/ 2552723 w 5479189"/>
              <a:gd name="connsiteY0" fmla="*/ 0 h 6789649"/>
              <a:gd name="connsiteX1" fmla="*/ 5479189 w 5479189"/>
              <a:gd name="connsiteY1" fmla="*/ 0 h 6789649"/>
              <a:gd name="connsiteX2" fmla="*/ 5433038 w 5479189"/>
              <a:gd name="connsiteY2" fmla="*/ 6757102 h 6789649"/>
              <a:gd name="connsiteX3" fmla="*/ 0 w 5479189"/>
              <a:gd name="connsiteY3" fmla="*/ 6789649 h 6789649"/>
              <a:gd name="connsiteX4" fmla="*/ 2552723 w 5479189"/>
              <a:gd name="connsiteY4" fmla="*/ 0 h 6789649"/>
              <a:gd name="connsiteX0" fmla="*/ 3088411 w 6014877"/>
              <a:gd name="connsiteY0" fmla="*/ 0 h 6757102"/>
              <a:gd name="connsiteX1" fmla="*/ 6014877 w 6014877"/>
              <a:gd name="connsiteY1" fmla="*/ 0 h 6757102"/>
              <a:gd name="connsiteX2" fmla="*/ 5968726 w 6014877"/>
              <a:gd name="connsiteY2" fmla="*/ 6757102 h 6757102"/>
              <a:gd name="connsiteX3" fmla="*/ 0 w 6014877"/>
              <a:gd name="connsiteY3" fmla="*/ 6737568 h 6757102"/>
              <a:gd name="connsiteX4" fmla="*/ 3088411 w 6014877"/>
              <a:gd name="connsiteY4" fmla="*/ 0 h 6757102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46405 w 6014877"/>
              <a:gd name="connsiteY2" fmla="*/ 6593419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38965 w 6014877"/>
              <a:gd name="connsiteY2" fmla="*/ 6727341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46405 w 6014877"/>
              <a:gd name="connsiteY2" fmla="*/ 6712461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35104 w 6014877"/>
              <a:gd name="connsiteY2" fmla="*/ 6729413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52057 w 6014877"/>
              <a:gd name="connsiteY2" fmla="*/ 6729413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2534640 w 6014877"/>
              <a:gd name="connsiteY0" fmla="*/ 11302 h 6737568"/>
              <a:gd name="connsiteX1" fmla="*/ 6014877 w 6014877"/>
              <a:gd name="connsiteY1" fmla="*/ 0 h 6737568"/>
              <a:gd name="connsiteX2" fmla="*/ 5952057 w 6014877"/>
              <a:gd name="connsiteY2" fmla="*/ 6729413 h 6737568"/>
              <a:gd name="connsiteX3" fmla="*/ 0 w 6014877"/>
              <a:gd name="connsiteY3" fmla="*/ 6737568 h 6737568"/>
              <a:gd name="connsiteX4" fmla="*/ 2534640 w 6014877"/>
              <a:gd name="connsiteY4" fmla="*/ 11302 h 6737568"/>
              <a:gd name="connsiteX0" fmla="*/ 2534640 w 5954363"/>
              <a:gd name="connsiteY0" fmla="*/ 0 h 6726266"/>
              <a:gd name="connsiteX1" fmla="*/ 5952719 w 5954363"/>
              <a:gd name="connsiteY1" fmla="*/ 11301 h 6726266"/>
              <a:gd name="connsiteX2" fmla="*/ 5952057 w 5954363"/>
              <a:gd name="connsiteY2" fmla="*/ 6718111 h 6726266"/>
              <a:gd name="connsiteX3" fmla="*/ 0 w 5954363"/>
              <a:gd name="connsiteY3" fmla="*/ 6726266 h 6726266"/>
              <a:gd name="connsiteX4" fmla="*/ 2534640 w 5954363"/>
              <a:gd name="connsiteY4" fmla="*/ 0 h 6726266"/>
              <a:gd name="connsiteX0" fmla="*/ 2534640 w 5952207"/>
              <a:gd name="connsiteY0" fmla="*/ 0 h 6726266"/>
              <a:gd name="connsiteX1" fmla="*/ 5675834 w 5952207"/>
              <a:gd name="connsiteY1" fmla="*/ 118664 h 6726266"/>
              <a:gd name="connsiteX2" fmla="*/ 5952057 w 5952207"/>
              <a:gd name="connsiteY2" fmla="*/ 6718111 h 6726266"/>
              <a:gd name="connsiteX3" fmla="*/ 0 w 5952207"/>
              <a:gd name="connsiteY3" fmla="*/ 6726266 h 6726266"/>
              <a:gd name="connsiteX4" fmla="*/ 2534640 w 5952207"/>
              <a:gd name="connsiteY4" fmla="*/ 0 h 6726266"/>
              <a:gd name="connsiteX0" fmla="*/ 2534640 w 5958370"/>
              <a:gd name="connsiteY0" fmla="*/ 0 h 6726266"/>
              <a:gd name="connsiteX1" fmla="*/ 5958370 w 5958370"/>
              <a:gd name="connsiteY1" fmla="*/ 28253 h 6726266"/>
              <a:gd name="connsiteX2" fmla="*/ 5952057 w 5958370"/>
              <a:gd name="connsiteY2" fmla="*/ 6718111 h 6726266"/>
              <a:gd name="connsiteX3" fmla="*/ 0 w 5958370"/>
              <a:gd name="connsiteY3" fmla="*/ 6726266 h 6726266"/>
              <a:gd name="connsiteX4" fmla="*/ 2534640 w 5958370"/>
              <a:gd name="connsiteY4" fmla="*/ 0 h 6726266"/>
              <a:gd name="connsiteX0" fmla="*/ 2574194 w 5958370"/>
              <a:gd name="connsiteY0" fmla="*/ 50857 h 6698013"/>
              <a:gd name="connsiteX1" fmla="*/ 5958370 w 5958370"/>
              <a:gd name="connsiteY1" fmla="*/ 0 h 6698013"/>
              <a:gd name="connsiteX2" fmla="*/ 5952057 w 5958370"/>
              <a:gd name="connsiteY2" fmla="*/ 6689858 h 6698013"/>
              <a:gd name="connsiteX3" fmla="*/ 0 w 5958370"/>
              <a:gd name="connsiteY3" fmla="*/ 6698013 h 6698013"/>
              <a:gd name="connsiteX4" fmla="*/ 2574194 w 5958370"/>
              <a:gd name="connsiteY4" fmla="*/ 50857 h 6698013"/>
              <a:gd name="connsiteX0" fmla="*/ 2534640 w 5958370"/>
              <a:gd name="connsiteY0" fmla="*/ 0 h 6709314"/>
              <a:gd name="connsiteX1" fmla="*/ 5958370 w 5958370"/>
              <a:gd name="connsiteY1" fmla="*/ 11301 h 6709314"/>
              <a:gd name="connsiteX2" fmla="*/ 5952057 w 5958370"/>
              <a:gd name="connsiteY2" fmla="*/ 6701159 h 6709314"/>
              <a:gd name="connsiteX3" fmla="*/ 0 w 5958370"/>
              <a:gd name="connsiteY3" fmla="*/ 6709314 h 6709314"/>
              <a:gd name="connsiteX4" fmla="*/ 2534640 w 5958370"/>
              <a:gd name="connsiteY4" fmla="*/ 0 h 6709314"/>
              <a:gd name="connsiteX0" fmla="*/ 2545942 w 5969672"/>
              <a:gd name="connsiteY0" fmla="*/ 0 h 6701159"/>
              <a:gd name="connsiteX1" fmla="*/ 5969672 w 5969672"/>
              <a:gd name="connsiteY1" fmla="*/ 11301 h 6701159"/>
              <a:gd name="connsiteX2" fmla="*/ 5963359 w 5969672"/>
              <a:gd name="connsiteY2" fmla="*/ 6701159 h 6701159"/>
              <a:gd name="connsiteX3" fmla="*/ 0 w 5969672"/>
              <a:gd name="connsiteY3" fmla="*/ 6698012 h 6701159"/>
              <a:gd name="connsiteX4" fmla="*/ 2545942 w 5969672"/>
              <a:gd name="connsiteY4" fmla="*/ 0 h 6701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69672" h="6701159">
                <a:moveTo>
                  <a:pt x="2545942" y="0"/>
                </a:moveTo>
                <a:lnTo>
                  <a:pt x="5969672" y="11301"/>
                </a:lnTo>
                <a:cubicBezTo>
                  <a:pt x="5961956" y="2299230"/>
                  <a:pt x="5971075" y="4413230"/>
                  <a:pt x="5963359" y="6701159"/>
                </a:cubicBezTo>
                <a:lnTo>
                  <a:pt x="0" y="6698012"/>
                </a:lnTo>
                <a:lnTo>
                  <a:pt x="2545942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2090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6664" y="1973484"/>
            <a:ext cx="3342849" cy="2540643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074" y="252000"/>
            <a:ext cx="4028652" cy="4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0633D098-B8C0-4C54-8883-C95D031F0CA0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7" name="Marcador de texto 3">
            <a:extLst>
              <a:ext uri="{FF2B5EF4-FFF2-40B4-BE49-F238E27FC236}">
                <a16:creationId xmlns:a16="http://schemas.microsoft.com/office/drawing/2014/main" id="{32DFA04D-5523-4069-B6BB-7EFFAC9E1C5C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164893" y="4228281"/>
            <a:ext cx="1905668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rgbClr val="DA291C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B84400EA-2732-41DF-AAA0-2F83D4322FB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5153350" y="4548681"/>
            <a:ext cx="1911139" cy="32040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C6D23C22-8F7E-4F84-A73B-496E66852871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5151760" y="5029281"/>
            <a:ext cx="1911139" cy="320400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24" name="Marcador de texto 3">
            <a:extLst>
              <a:ext uri="{FF2B5EF4-FFF2-40B4-BE49-F238E27FC236}">
                <a16:creationId xmlns:a16="http://schemas.microsoft.com/office/drawing/2014/main" id="{0C848B65-DBFF-4B66-B63B-523E596907C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518180" y="4231837"/>
            <a:ext cx="1905668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rgbClr val="DA291C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301CE55-8097-4098-9D4B-E0B2F39F30AC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7506637" y="4552237"/>
            <a:ext cx="1911139" cy="32040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8906D81-7376-4EA7-91AB-6A9DEF7EA46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505047" y="5032837"/>
            <a:ext cx="1911139" cy="320400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70CEF643-CDDE-4396-8BA5-3331E75E3BB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905997" y="4231837"/>
            <a:ext cx="1905668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rgbClr val="DA291C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106EDF3B-A193-4DAB-BFB4-19D111781D50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894454" y="4552237"/>
            <a:ext cx="1911139" cy="320400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5927D876-FC6C-46A8-A907-EFB4CC1AB4D7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9892864" y="5032837"/>
            <a:ext cx="1911139" cy="320400"/>
          </a:xfrm>
        </p:spPr>
        <p:txBody>
          <a:bodyPr/>
          <a:lstStyle>
            <a:lvl1pPr algn="ctr">
              <a:defRPr sz="1200"/>
            </a:lvl1pPr>
          </a:lstStyle>
          <a:p>
            <a:pPr lvl="0"/>
            <a:endParaRPr lang="en-US"/>
          </a:p>
        </p:txBody>
      </p: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A0FC89CF-891C-4A16-AD77-25DC4569DCBE}"/>
              </a:ext>
            </a:extLst>
          </p:cNvPr>
          <p:cNvSpPr>
            <a:spLocks noGrp="1"/>
          </p:cNvSpPr>
          <p:nvPr>
            <p:ph type="pic" sz="quarter" idx="71"/>
          </p:nvPr>
        </p:nvSpPr>
        <p:spPr>
          <a:xfrm>
            <a:off x="5244821" y="2123954"/>
            <a:ext cx="1762796" cy="1762796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0E097020-4B61-4F3F-B7DF-2CD06143C919}"/>
              </a:ext>
            </a:extLst>
          </p:cNvPr>
          <p:cNvSpPr>
            <a:spLocks noGrp="1"/>
          </p:cNvSpPr>
          <p:nvPr>
            <p:ph type="pic" sz="quarter" idx="72"/>
          </p:nvPr>
        </p:nvSpPr>
        <p:spPr>
          <a:xfrm>
            <a:off x="7602198" y="2123954"/>
            <a:ext cx="1762796" cy="1762796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sp>
        <p:nvSpPr>
          <p:cNvPr id="32" name="Picture Placeholder 5">
            <a:extLst>
              <a:ext uri="{FF2B5EF4-FFF2-40B4-BE49-F238E27FC236}">
                <a16:creationId xmlns:a16="http://schemas.microsoft.com/office/drawing/2014/main" id="{A65608AE-88E1-4C04-883D-8A6887104EBC}"/>
              </a:ext>
            </a:extLst>
          </p:cNvPr>
          <p:cNvSpPr>
            <a:spLocks noGrp="1"/>
          </p:cNvSpPr>
          <p:nvPr>
            <p:ph type="pic" sz="quarter" idx="73"/>
          </p:nvPr>
        </p:nvSpPr>
        <p:spPr>
          <a:xfrm>
            <a:off x="9967035" y="2123954"/>
            <a:ext cx="1762796" cy="1762796"/>
          </a:xfrm>
          <a:prstGeom prst="flowChartConnector">
            <a:avLst/>
          </a:prstGeom>
          <a:ln>
            <a:solidFill>
              <a:srgbClr val="DA281C"/>
            </a:solidFill>
          </a:ln>
        </p:spPr>
      </p:sp>
      <p:cxnSp>
        <p:nvCxnSpPr>
          <p:cNvPr id="33" name="Straight Connector 15">
            <a:extLst>
              <a:ext uri="{FF2B5EF4-FFF2-40B4-BE49-F238E27FC236}">
                <a16:creationId xmlns:a16="http://schemas.microsoft.com/office/drawing/2014/main" id="{98FB1C65-9750-4157-AAF8-D72671C5259A}"/>
              </a:ext>
            </a:extLst>
          </p:cNvPr>
          <p:cNvCxnSpPr>
            <a:cxnSpLocks/>
          </p:cNvCxnSpPr>
          <p:nvPr userDrawn="1"/>
        </p:nvCxnSpPr>
        <p:spPr>
          <a:xfrm>
            <a:off x="7287715" y="1925148"/>
            <a:ext cx="0" cy="3014238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15">
            <a:extLst>
              <a:ext uri="{FF2B5EF4-FFF2-40B4-BE49-F238E27FC236}">
                <a16:creationId xmlns:a16="http://schemas.microsoft.com/office/drawing/2014/main" id="{5C8766AE-E86C-44FC-B29F-CEAD833A59F0}"/>
              </a:ext>
            </a:extLst>
          </p:cNvPr>
          <p:cNvCxnSpPr>
            <a:cxnSpLocks/>
          </p:cNvCxnSpPr>
          <p:nvPr userDrawn="1"/>
        </p:nvCxnSpPr>
        <p:spPr>
          <a:xfrm>
            <a:off x="9645093" y="1921881"/>
            <a:ext cx="0" cy="3014238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Marcador de texto 2">
            <a:extLst>
              <a:ext uri="{FF2B5EF4-FFF2-40B4-BE49-F238E27FC236}">
                <a16:creationId xmlns:a16="http://schemas.microsoft.com/office/drawing/2014/main" id="{132744E5-992B-45C3-8D2C-25BADF34710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4034936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AEB10D8-C2A4-468A-8A99-15A2B2FFF868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B13A137-21B4-4440-9996-9EA6C24DE0E4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0D7225D-BA97-4905-BD63-A448539729D9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5168E9B-A410-45D5-9ECB-A7B513A98221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2213741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4 columns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EAD1AAE-5F63-4F10-9BB6-9EE29C6A4E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2431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EAD1AAE-5F63-4F10-9BB6-9EE29C6A4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2" descr="Body text will be presented like this">
            <a:extLst>
              <a:ext uri="{FF2B5EF4-FFF2-40B4-BE49-F238E27FC236}">
                <a16:creationId xmlns:a16="http://schemas.microsoft.com/office/drawing/2014/main" id="{222F074C-9474-1441-92BA-E96D35681F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8790" y="1764000"/>
            <a:ext cx="2628000" cy="4032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 descr="Body text will be presented like this">
            <a:extLst>
              <a:ext uri="{FF2B5EF4-FFF2-40B4-BE49-F238E27FC236}">
                <a16:creationId xmlns:a16="http://schemas.microsoft.com/office/drawing/2014/main" id="{E123D2C1-20C7-B24D-B631-0B216E71BBB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08260" y="1764000"/>
            <a:ext cx="2628000" cy="4032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 descr="Body text will be presented like this">
            <a:extLst>
              <a:ext uri="{FF2B5EF4-FFF2-40B4-BE49-F238E27FC236}">
                <a16:creationId xmlns:a16="http://schemas.microsoft.com/office/drawing/2014/main" id="{4EBFC386-3520-B542-A356-7958C9441B9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7730" y="1764000"/>
            <a:ext cx="2628000" cy="4032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2" descr="Body text will be presented like this">
            <a:extLst>
              <a:ext uri="{FF2B5EF4-FFF2-40B4-BE49-F238E27FC236}">
                <a16:creationId xmlns:a16="http://schemas.microsoft.com/office/drawing/2014/main" id="{B39FD9AC-9727-2A48-88FA-87D0E68DBDB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87200" y="1764000"/>
            <a:ext cx="2628000" cy="4032000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52634D77-C330-CF4B-9D59-C72C7B81A96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8790" y="1396800"/>
            <a:ext cx="2628000" cy="239712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10000"/>
              </a:lnSpc>
              <a:buNone/>
              <a:defRPr sz="14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28" name="Marcador de texto 5">
            <a:extLst>
              <a:ext uri="{FF2B5EF4-FFF2-40B4-BE49-F238E27FC236}">
                <a16:creationId xmlns:a16="http://schemas.microsoft.com/office/drawing/2014/main" id="{82C001E4-8932-CF48-81EF-E783FF31A31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308260" y="1396800"/>
            <a:ext cx="2628000" cy="239712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10000"/>
              </a:lnSpc>
              <a:buNone/>
              <a:defRPr sz="14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29" name="Marcador de texto 5">
            <a:extLst>
              <a:ext uri="{FF2B5EF4-FFF2-40B4-BE49-F238E27FC236}">
                <a16:creationId xmlns:a16="http://schemas.microsoft.com/office/drawing/2014/main" id="{54A3C4D8-EE40-CF42-80FC-6BF7CA84F0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47730" y="1396800"/>
            <a:ext cx="2628000" cy="239712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10000"/>
              </a:lnSpc>
              <a:buNone/>
              <a:defRPr sz="14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30" name="Marcador de texto 5">
            <a:extLst>
              <a:ext uri="{FF2B5EF4-FFF2-40B4-BE49-F238E27FC236}">
                <a16:creationId xmlns:a16="http://schemas.microsoft.com/office/drawing/2014/main" id="{E7621128-BB5D-3748-8C7D-1FBF6C59206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87200" y="1396800"/>
            <a:ext cx="2628000" cy="239712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lnSpc>
                <a:spcPct val="110000"/>
              </a:lnSpc>
              <a:buNone/>
              <a:defRPr sz="14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14" name="Marcador de texto 2">
            <a:extLst>
              <a:ext uri="{FF2B5EF4-FFF2-40B4-BE49-F238E27FC236}">
                <a16:creationId xmlns:a16="http://schemas.microsoft.com/office/drawing/2014/main" id="{D23A926E-5A65-422A-8E34-A1836395D8E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DB2B6F-178E-4507-A9C8-8DEE8605A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02174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or objet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F2F819-31EE-4767-B31E-A161B188D9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0601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F2F819-31EE-4767-B31E-A161B188D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Marcador de texto 2">
            <a:extLst>
              <a:ext uri="{FF2B5EF4-FFF2-40B4-BE49-F238E27FC236}">
                <a16:creationId xmlns:a16="http://schemas.microsoft.com/office/drawing/2014/main" id="{D2007C2E-9B72-4F4A-BD7D-8C2DE3EFE85A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68790" y="1396800"/>
            <a:ext cx="5556946" cy="4752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90000"/>
              </a:lnSpc>
              <a:buClr>
                <a:schemeClr val="accent1"/>
              </a:buClr>
              <a:defRPr sz="1400">
                <a:latin typeface="+mn-lt"/>
              </a:defRPr>
            </a:lvl1pPr>
            <a:lvl2pPr marL="262800" indent="-26280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latin typeface="+mn-lt"/>
              </a:defRPr>
            </a:lvl2pPr>
            <a:lvl3pPr marL="720000" indent="-158400">
              <a:lnSpc>
                <a:spcPct val="120000"/>
              </a:lnSpc>
              <a:buClr>
                <a:schemeClr val="tx1"/>
              </a:buClr>
              <a:buSzPct val="100000"/>
              <a:buFont typeface="Apple Symbols" panose="02000000000000000000" pitchFamily="2" charset="-79"/>
              <a:buChar char="≫"/>
              <a:defRPr sz="1000">
                <a:latin typeface="+mn-lt"/>
              </a:defRPr>
            </a:lvl3pPr>
            <a:lvl4pPr marL="864000" indent="-144000">
              <a:lnSpc>
                <a:spcPct val="120000"/>
              </a:lnSpc>
              <a:buSzPct val="80000"/>
              <a:buFont typeface="Courier New" panose="02070309020205020404" pitchFamily="49" charset="0"/>
              <a:buChar char="o"/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s-ES" err="1"/>
              <a:t>First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6271452A-7728-49FB-A732-1220BCA471F0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6" name="Marcador de texto 2">
            <a:extLst>
              <a:ext uri="{FF2B5EF4-FFF2-40B4-BE49-F238E27FC236}">
                <a16:creationId xmlns:a16="http://schemas.microsoft.com/office/drawing/2014/main" id="{C9B6671F-D092-401E-B330-80D231745F5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56800" y="1396800"/>
            <a:ext cx="5558400" cy="4752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90000"/>
              </a:lnSpc>
              <a:buClr>
                <a:schemeClr val="accent1"/>
              </a:buClr>
              <a:defRPr sz="1400">
                <a:latin typeface="+mn-lt"/>
              </a:defRPr>
            </a:lvl1pPr>
            <a:lvl2pPr marL="262800" indent="-26280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latin typeface="+mn-lt"/>
              </a:defRPr>
            </a:lvl2pPr>
            <a:lvl3pPr marL="720000" indent="-158400">
              <a:lnSpc>
                <a:spcPct val="120000"/>
              </a:lnSpc>
              <a:buClr>
                <a:schemeClr val="tx1"/>
              </a:buClr>
              <a:buSzPct val="100000"/>
              <a:buFont typeface="Apple Symbols" panose="02000000000000000000" pitchFamily="2" charset="-79"/>
              <a:buChar char="≫"/>
              <a:defRPr sz="1000">
                <a:latin typeface="+mn-lt"/>
              </a:defRPr>
            </a:lvl3pPr>
            <a:lvl4pPr marL="864000" indent="-144000">
              <a:lnSpc>
                <a:spcPct val="120000"/>
              </a:lnSpc>
              <a:buSzPct val="80000"/>
              <a:buFont typeface="Courier New" panose="02070309020205020404" pitchFamily="49" charset="0"/>
              <a:buChar char="o"/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s-ES" err="1"/>
              <a:t>First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DEC637-4E16-4A65-A111-E6E48B467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96811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8AE4BD-3985-4867-A356-6E8A1D322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328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38AE4BD-3985-4867-A356-6E8A1D322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13D4D86-65A2-674B-8740-25F1F0703B6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8789" y="1396800"/>
            <a:ext cx="11451735" cy="338137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20000"/>
              </a:lnSpc>
              <a:spcBef>
                <a:spcPts val="0"/>
              </a:spcBef>
              <a:buNone/>
              <a:defRPr sz="1600" b="1">
                <a:solidFill>
                  <a:schemeClr val="accent1"/>
                </a:solidFill>
                <a:latin typeface="+mj-lt"/>
                <a:cs typeface="Verdana" panose="020B0604030504040204" pitchFamily="34" charset="0"/>
              </a:defRPr>
            </a:lvl1pPr>
            <a:lvl2pPr>
              <a:defRPr>
                <a:latin typeface="+mj-lt"/>
                <a:cs typeface="Arial" panose="020B0604020202020204" pitchFamily="34" charset="0"/>
              </a:defRPr>
            </a:lvl2pPr>
            <a:lvl3pPr marL="547687" indent="-285750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latin typeface="+mj-lt"/>
                <a:cs typeface="Arial" panose="020B0604020202020204" pitchFamily="34" charset="0"/>
              </a:defRPr>
            </a:lvl3pPr>
            <a:lvl4pPr marL="711200" indent="-174625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latin typeface="+mj-lt"/>
                <a:cs typeface="Arial" panose="020B0604020202020204" pitchFamily="34" charset="0"/>
              </a:defRPr>
            </a:lvl4pPr>
            <a:lvl5pPr marL="900113" indent="-188913">
              <a:buClr>
                <a:schemeClr val="accent1"/>
              </a:buClr>
              <a:buFont typeface="Courier New" panose="02070309020205020404" pitchFamily="49" charset="0"/>
              <a:buChar char="o"/>
              <a:defRPr sz="16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54F772DC-9BB0-FD40-BA8F-7563DE243E2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343200" y="1900800"/>
            <a:ext cx="5472000" cy="424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400" b="1" i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s-ES"/>
              <a:t>Text</a:t>
            </a:r>
            <a:endParaRPr lang="en-GB"/>
          </a:p>
        </p:txBody>
      </p:sp>
      <p:sp>
        <p:nvSpPr>
          <p:cNvPr id="21" name="Marcador de texto 2">
            <a:extLst>
              <a:ext uri="{FF2B5EF4-FFF2-40B4-BE49-F238E27FC236}">
                <a16:creationId xmlns:a16="http://schemas.microsoft.com/office/drawing/2014/main" id="{8AA37285-5DCF-9D48-B155-8D75AB2F2D16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68790" y="1900800"/>
            <a:ext cx="5472000" cy="424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lnSpc>
                <a:spcPct val="90000"/>
              </a:lnSpc>
              <a:buClr>
                <a:schemeClr val="accent1"/>
              </a:buClr>
              <a:defRPr sz="1400">
                <a:latin typeface="+mn-lt"/>
              </a:defRPr>
            </a:lvl1pPr>
            <a:lvl2pPr marL="262800" indent="-26280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latin typeface="+mn-lt"/>
              </a:defRPr>
            </a:lvl2pPr>
            <a:lvl3pPr marL="720000" indent="-158400">
              <a:lnSpc>
                <a:spcPct val="120000"/>
              </a:lnSpc>
              <a:buClr>
                <a:schemeClr val="tx1"/>
              </a:buClr>
              <a:buSzPct val="100000"/>
              <a:buFont typeface="Apple Symbols" panose="02000000000000000000" pitchFamily="2" charset="-79"/>
              <a:buChar char="≫"/>
              <a:defRPr sz="1000">
                <a:latin typeface="+mn-lt"/>
              </a:defRPr>
            </a:lvl3pPr>
            <a:lvl4pPr marL="864000" indent="-144000">
              <a:lnSpc>
                <a:spcPct val="120000"/>
              </a:lnSpc>
              <a:buSzPct val="80000"/>
              <a:buFont typeface="Courier New" panose="02070309020205020404" pitchFamily="49" charset="0"/>
              <a:buChar char="o"/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s-ES" err="1"/>
              <a:t>First</a:t>
            </a:r>
            <a:r>
              <a:rPr lang="es-ES"/>
              <a:t> </a:t>
            </a:r>
            <a:r>
              <a:rPr lang="es-ES" err="1"/>
              <a:t>level</a:t>
            </a:r>
            <a:r>
              <a:rPr lang="es-ES"/>
              <a:t> </a:t>
            </a:r>
          </a:p>
          <a:p>
            <a:pPr lvl="1"/>
            <a:r>
              <a:rPr lang="es-ES" err="1"/>
              <a:t>Second</a:t>
            </a:r>
            <a:r>
              <a:rPr lang="es-ES"/>
              <a:t> </a:t>
            </a:r>
            <a:r>
              <a:rPr lang="es-ES" err="1"/>
              <a:t>level</a:t>
            </a:r>
            <a:endParaRPr lang="es-ES"/>
          </a:p>
        </p:txBody>
      </p:sp>
      <p:cxnSp>
        <p:nvCxnSpPr>
          <p:cNvPr id="26" name="Straight Connector 15">
            <a:extLst>
              <a:ext uri="{FF2B5EF4-FFF2-40B4-BE49-F238E27FC236}">
                <a16:creationId xmlns:a16="http://schemas.microsoft.com/office/drawing/2014/main" id="{A2D37FB5-1BAB-A84D-B795-B4972CB53698}"/>
              </a:ext>
            </a:extLst>
          </p:cNvPr>
          <p:cNvCxnSpPr>
            <a:cxnSpLocks/>
          </p:cNvCxnSpPr>
          <p:nvPr userDrawn="1"/>
        </p:nvCxnSpPr>
        <p:spPr>
          <a:xfrm>
            <a:off x="6091995" y="1990800"/>
            <a:ext cx="0" cy="4068000"/>
          </a:xfrm>
          <a:prstGeom prst="line">
            <a:avLst/>
          </a:prstGeom>
          <a:ln>
            <a:solidFill>
              <a:srgbClr val="DA28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arcador de texto 2">
            <a:extLst>
              <a:ext uri="{FF2B5EF4-FFF2-40B4-BE49-F238E27FC236}">
                <a16:creationId xmlns:a16="http://schemas.microsoft.com/office/drawing/2014/main" id="{D5937F15-FEDE-4292-AB3A-84B31FE559C2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6D2C50-5798-4682-B37E-EF925F982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6046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13FA11E-9470-4228-96B0-44982DA205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8873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13FA11E-9470-4228-96B0-44982DA205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F9410D-3796-4909-B40D-B35A3BBC617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059AFB1-C7D6-6743-933B-FA747A91A0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15200" y="1396800"/>
            <a:ext cx="5400000" cy="4752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2B43F0E0-6DB6-43E7-8D4A-015CF8E695A2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8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D8F7B4-B48D-42AF-A1AD-CD5D18B1F8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790" y="1396800"/>
            <a:ext cx="57312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uadroTexto 64">
            <a:extLst>
              <a:ext uri="{FF2B5EF4-FFF2-40B4-BE49-F238E27FC236}">
                <a16:creationId xmlns:a16="http://schemas.microsoft.com/office/drawing/2014/main" id="{34D55F5F-B8A8-4CC8-BD1E-447D4AAC4A20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FABB4E-642F-4400-9ED2-88EFF07D55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98026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AE9E93-F472-47F1-91F6-9772266234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6665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AE9E93-F472-47F1-91F6-977226623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1778B4-7C1F-4CAD-BAA1-687FE82F7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Marcador de contenido 4">
            <a:extLst>
              <a:ext uri="{FF2B5EF4-FFF2-40B4-BE49-F238E27FC236}">
                <a16:creationId xmlns:a16="http://schemas.microsoft.com/office/drawing/2014/main" id="{467CE687-F3D9-B346-A542-5EED792BEFF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415200" y="1396800"/>
            <a:ext cx="5400000" cy="4752000"/>
          </a:xfrm>
          <a:prstGeom prst="rect">
            <a:avLst/>
          </a:prstGeom>
        </p:spPr>
        <p:txBody>
          <a:bodyPr anchor="t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a table, </a:t>
            </a:r>
            <a:br>
              <a:rPr lang="en-US"/>
            </a:br>
            <a:r>
              <a:rPr lang="en-US"/>
              <a:t>chart or image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3BF9BE23-447B-43CC-B3A5-202F7CFB8F5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DC7040-0411-412B-AC50-A22E5F26338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8790" y="1396800"/>
            <a:ext cx="57312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59FD00C-3D55-4286-9382-8E87FAB63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12862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AE9E93-F472-47F1-91F6-9772266234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3542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AE9E93-F472-47F1-91F6-977226623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1778B4-7C1F-4CAD-BAA1-687FE82F7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Marcador de contenido 4">
            <a:extLst>
              <a:ext uri="{FF2B5EF4-FFF2-40B4-BE49-F238E27FC236}">
                <a16:creationId xmlns:a16="http://schemas.microsoft.com/office/drawing/2014/main" id="{467CE687-F3D9-B346-A542-5EED792BEFF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1475" y="1396800"/>
            <a:ext cx="5400000" cy="4752000"/>
          </a:xfrm>
          <a:prstGeom prst="rect">
            <a:avLst/>
          </a:prstGeom>
        </p:spPr>
        <p:txBody>
          <a:bodyPr anchor="t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a table, </a:t>
            </a:r>
            <a:br>
              <a:rPr lang="en-US"/>
            </a:br>
            <a:r>
              <a:rPr lang="en-US"/>
              <a:t>chart or image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3BF9BE23-447B-43CC-B3A5-202F7CFB8F5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59FD00C-3D55-4286-9382-8E87FAB63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Marcador de texto 3">
            <a:extLst>
              <a:ext uri="{FF2B5EF4-FFF2-40B4-BE49-F238E27FC236}">
                <a16:creationId xmlns:a16="http://schemas.microsoft.com/office/drawing/2014/main" id="{6843D7AD-9152-47D5-99D0-BBBA0319B9C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630036" y="1401673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6C32404-FCB5-4BAA-83C4-43D88A66A05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632836" y="1723016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Marcador de texto 3">
            <a:extLst>
              <a:ext uri="{FF2B5EF4-FFF2-40B4-BE49-F238E27FC236}">
                <a16:creationId xmlns:a16="http://schemas.microsoft.com/office/drawing/2014/main" id="{4428ED6C-FDDD-49C4-957F-C4BFB8975BE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567796" y="1406529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9B8C1556-02E4-45AD-90E7-792D074953E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570596" y="1727872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Marcador de texto 3">
            <a:extLst>
              <a:ext uri="{FF2B5EF4-FFF2-40B4-BE49-F238E27FC236}">
                <a16:creationId xmlns:a16="http://schemas.microsoft.com/office/drawing/2014/main" id="{ACB180FB-1454-47DD-BB9E-B2DA4A8A3DF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23248" y="3107657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77B9DC8-DC18-449C-B522-DEE36E2B24C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626048" y="3429000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46E1AF4A-780C-4EE6-9928-7BC8D0AC343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561008" y="3112513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72E05E5C-8D35-4D51-B233-065C8E31725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563808" y="3433856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Marcador de texto 3">
            <a:extLst>
              <a:ext uri="{FF2B5EF4-FFF2-40B4-BE49-F238E27FC236}">
                <a16:creationId xmlns:a16="http://schemas.microsoft.com/office/drawing/2014/main" id="{1187544D-6621-47E7-8A6D-A879FECBCAF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623248" y="4822565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FB4F0186-A1CF-411A-8226-0A48C5C3218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626048" y="5143908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Marcador de texto 3">
            <a:extLst>
              <a:ext uri="{FF2B5EF4-FFF2-40B4-BE49-F238E27FC236}">
                <a16:creationId xmlns:a16="http://schemas.microsoft.com/office/drawing/2014/main" id="{F2FE3AC2-2796-480C-A108-6D0C2DEB1228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561008" y="4827421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2355334D-7950-4F8F-AE01-195858149FA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563808" y="5148764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81851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bject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AE9E93-F472-47F1-91F6-9772266234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6427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AE9E93-F472-47F1-91F6-9772266234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D1778B4-7C1F-4CAD-BAA1-687FE82F7B7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" name="Marcador de contenido 4">
            <a:extLst>
              <a:ext uri="{FF2B5EF4-FFF2-40B4-BE49-F238E27FC236}">
                <a16:creationId xmlns:a16="http://schemas.microsoft.com/office/drawing/2014/main" id="{467CE687-F3D9-B346-A542-5EED792BEFF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420525" y="1396800"/>
            <a:ext cx="5400000" cy="4752000"/>
          </a:xfrm>
          <a:prstGeom prst="rect">
            <a:avLst/>
          </a:prstGeom>
        </p:spPr>
        <p:txBody>
          <a:bodyPr anchor="t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a table, </a:t>
            </a:r>
            <a:br>
              <a:rPr lang="en-US"/>
            </a:br>
            <a:r>
              <a:rPr lang="en-US"/>
              <a:t>chart or image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3BF9BE23-447B-43CC-B3A5-202F7CFB8F5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59FD00C-3D55-4286-9382-8E87FAB63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Marcador de texto 3">
            <a:extLst>
              <a:ext uri="{FF2B5EF4-FFF2-40B4-BE49-F238E27FC236}">
                <a16:creationId xmlns:a16="http://schemas.microsoft.com/office/drawing/2014/main" id="{6843D7AD-9152-47D5-99D0-BBBA0319B9C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7431" y="3429017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6C32404-FCB5-4BAA-83C4-43D88A66A05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0231" y="3750360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Marcador de texto 3">
            <a:extLst>
              <a:ext uri="{FF2B5EF4-FFF2-40B4-BE49-F238E27FC236}">
                <a16:creationId xmlns:a16="http://schemas.microsoft.com/office/drawing/2014/main" id="{4428ED6C-FDDD-49C4-957F-C4BFB8975BE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835191" y="3433873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9B8C1556-02E4-45AD-90E7-792D074953E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837991" y="3755216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Marcador de texto 3">
            <a:extLst>
              <a:ext uri="{FF2B5EF4-FFF2-40B4-BE49-F238E27FC236}">
                <a16:creationId xmlns:a16="http://schemas.microsoft.com/office/drawing/2014/main" id="{ACB180FB-1454-47DD-BB9E-B2DA4A8A3DF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90643" y="5135001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77B9DC8-DC18-449C-B522-DEE36E2B24C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93443" y="5456344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46E1AF4A-780C-4EE6-9928-7BC8D0AC343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828403" y="5139857"/>
            <a:ext cx="2240476" cy="2868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72E05E5C-8D35-4D51-B233-065C8E31725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831203" y="5461200"/>
            <a:ext cx="2244464" cy="324000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84F6A59-488C-411A-BAAC-AC4D46ED1CE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68790" y="1396800"/>
            <a:ext cx="5731200" cy="153159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406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8A8F69-DD66-45C1-B85D-0E011DEEE8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2315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8A8F69-DD66-45C1-B85D-0E011DEEE8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D143ED73-AA34-4057-A898-E1A20B1D6F7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2637FA-97C6-4B1B-B40E-DEFDE97B84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8790" y="1396800"/>
            <a:ext cx="1144627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D38EC83-21DE-431D-8BC8-1CB195F64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79209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7CFD00-C6DE-4FB2-8022-E7E049C42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3505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7CFD00-C6DE-4FB2-8022-E7E049C42B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arcador de contenido 4">
            <a:extLst>
              <a:ext uri="{FF2B5EF4-FFF2-40B4-BE49-F238E27FC236}">
                <a16:creationId xmlns:a16="http://schemas.microsoft.com/office/drawing/2014/main" id="{467CE687-F3D9-B346-A542-5EED792BEFF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56800" y="1396800"/>
            <a:ext cx="5558400" cy="4752000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a table, </a:t>
            </a:r>
            <a:br>
              <a:rPr lang="en-US"/>
            </a:br>
            <a:r>
              <a:rPr lang="en-US"/>
              <a:t>chart or image</a:t>
            </a:r>
          </a:p>
          <a:p>
            <a:pPr lvl="0"/>
            <a:endParaRPr lang="en-GB"/>
          </a:p>
        </p:txBody>
      </p:sp>
      <p:sp>
        <p:nvSpPr>
          <p:cNvPr id="7" name="Marcador de contenido 4">
            <a:extLst>
              <a:ext uri="{FF2B5EF4-FFF2-40B4-BE49-F238E27FC236}">
                <a16:creationId xmlns:a16="http://schemas.microsoft.com/office/drawing/2014/main" id="{1AB5B00D-6AFD-494C-8631-E0A05EFBFCB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68790" y="1396800"/>
            <a:ext cx="5558400" cy="4752000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sz="1600" b="0" i="0" kern="1200" dirty="0" smtClean="0">
                <a:solidFill>
                  <a:schemeClr val="tx1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a table, </a:t>
            </a:r>
            <a:br>
              <a:rPr lang="en-US"/>
            </a:br>
            <a:r>
              <a:rPr lang="en-US"/>
              <a:t>chart or image</a:t>
            </a:r>
          </a:p>
          <a:p>
            <a:pPr lvl="0"/>
            <a:endParaRPr lang="en-GB"/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8F14B39B-9376-43B8-95BE-DEC3B570145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877918-72ED-4A00-8BB3-613507863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82845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6A0B881-68E7-450D-A7FA-D08BB77554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5174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6A0B881-68E7-450D-A7FA-D08BB77554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07DA8050-7B9B-4180-9354-4A54C06115DE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AB019154-AECF-485F-A10E-38AB9C8EEBBB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368790" y="1396800"/>
            <a:ext cx="11447463" cy="47520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AC1974-2EAA-466D-B83B-7B41D3611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68093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horizont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7EC629-02F8-484C-ADC6-4BBCEDAF2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705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7EC629-02F8-484C-ADC6-4BBCEDAF2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059AFB1-C7D6-6743-933B-FA747A91A0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5916706"/>
            <a:ext cx="12192000" cy="941294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07DA8050-7B9B-4180-9354-4A54C06115DE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A1271B-017E-4E03-B74E-17B19333A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2BC54C6-BC47-49BD-BA31-576633C986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790" y="1396800"/>
            <a:ext cx="11446270" cy="4248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9BC5B1-6581-47D9-A045-80CBDA8A09BB}"/>
              </a:ext>
            </a:extLst>
          </p:cNvPr>
          <p:cNvSpPr/>
          <p:nvPr userDrawn="1"/>
        </p:nvSpPr>
        <p:spPr>
          <a:xfrm>
            <a:off x="3051745" y="-30489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AE161F-D8E3-4773-8ECC-F30205E6B9D5}"/>
              </a:ext>
            </a:extLst>
          </p:cNvPr>
          <p:cNvSpPr/>
          <p:nvPr userDrawn="1"/>
        </p:nvSpPr>
        <p:spPr>
          <a:xfrm>
            <a:off x="7490" y="-30489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5030CC-10C3-411C-A435-4DFA738366A2}"/>
              </a:ext>
            </a:extLst>
          </p:cNvPr>
          <p:cNvSpPr/>
          <p:nvPr userDrawn="1"/>
        </p:nvSpPr>
        <p:spPr>
          <a:xfrm>
            <a:off x="9149414" y="-30502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B39257-D6EA-4DB4-870E-3C5B218949A1}"/>
              </a:ext>
            </a:extLst>
          </p:cNvPr>
          <p:cNvSpPr/>
          <p:nvPr userDrawn="1"/>
        </p:nvSpPr>
        <p:spPr>
          <a:xfrm>
            <a:off x="6105159" y="-30502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2144698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+ horizont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">
            <a:extLst>
              <a:ext uri="{FF2B5EF4-FFF2-40B4-BE49-F238E27FC236}">
                <a16:creationId xmlns:a16="http://schemas.microsoft.com/office/drawing/2014/main" id="{29D4E323-0F76-4CE8-A690-A97F4F779EB2}"/>
              </a:ext>
            </a:extLst>
          </p:cNvPr>
          <p:cNvSpPr/>
          <p:nvPr userDrawn="1"/>
        </p:nvSpPr>
        <p:spPr>
          <a:xfrm rot="10500648">
            <a:off x="-628" y="5686881"/>
            <a:ext cx="12299404" cy="1713997"/>
          </a:xfrm>
          <a:custGeom>
            <a:avLst/>
            <a:gdLst>
              <a:gd name="connsiteX0" fmla="*/ 0 w 12316995"/>
              <a:gd name="connsiteY0" fmla="*/ 0 h 2636838"/>
              <a:gd name="connsiteX1" fmla="*/ 12316995 w 12316995"/>
              <a:gd name="connsiteY1" fmla="*/ 0 h 2636838"/>
              <a:gd name="connsiteX2" fmla="*/ 12316995 w 12316995"/>
              <a:gd name="connsiteY2" fmla="*/ 2636838 h 2636838"/>
              <a:gd name="connsiteX3" fmla="*/ 0 w 12316995"/>
              <a:gd name="connsiteY3" fmla="*/ 2636838 h 2636838"/>
              <a:gd name="connsiteX4" fmla="*/ 0 w 12316995"/>
              <a:gd name="connsiteY4" fmla="*/ 0 h 2636838"/>
              <a:gd name="connsiteX0" fmla="*/ 291720 w 12316995"/>
              <a:gd name="connsiteY0" fmla="*/ 0 h 3165979"/>
              <a:gd name="connsiteX1" fmla="*/ 12316995 w 12316995"/>
              <a:gd name="connsiteY1" fmla="*/ 529141 h 3165979"/>
              <a:gd name="connsiteX2" fmla="*/ 12316995 w 12316995"/>
              <a:gd name="connsiteY2" fmla="*/ 3165979 h 3165979"/>
              <a:gd name="connsiteX3" fmla="*/ 0 w 12316995"/>
              <a:gd name="connsiteY3" fmla="*/ 3165979 h 3165979"/>
              <a:gd name="connsiteX4" fmla="*/ 291720 w 12316995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316995 w 12427262"/>
              <a:gd name="connsiteY2" fmla="*/ 3165979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259342 w 12427262"/>
              <a:gd name="connsiteY2" fmla="*/ 3160935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32323"/>
              <a:gd name="connsiteY0" fmla="*/ 0 h 3165979"/>
              <a:gd name="connsiteX1" fmla="*/ 12432323 w 12432323"/>
              <a:gd name="connsiteY1" fmla="*/ 1062082 h 3165979"/>
              <a:gd name="connsiteX2" fmla="*/ 12259342 w 12432323"/>
              <a:gd name="connsiteY2" fmla="*/ 3160935 h 3165979"/>
              <a:gd name="connsiteX3" fmla="*/ 0 w 12432323"/>
              <a:gd name="connsiteY3" fmla="*/ 3165979 h 3165979"/>
              <a:gd name="connsiteX4" fmla="*/ 291720 w 12432323"/>
              <a:gd name="connsiteY4" fmla="*/ 0 h 3165979"/>
              <a:gd name="connsiteX0" fmla="*/ 282042 w 12432323"/>
              <a:gd name="connsiteY0" fmla="*/ 0 h 3171925"/>
              <a:gd name="connsiteX1" fmla="*/ 12432323 w 12432323"/>
              <a:gd name="connsiteY1" fmla="*/ 1068028 h 3171925"/>
              <a:gd name="connsiteX2" fmla="*/ 12259342 w 12432323"/>
              <a:gd name="connsiteY2" fmla="*/ 3166881 h 3171925"/>
              <a:gd name="connsiteX3" fmla="*/ 0 w 12432323"/>
              <a:gd name="connsiteY3" fmla="*/ 3171925 h 3171925"/>
              <a:gd name="connsiteX4" fmla="*/ 282042 w 12432323"/>
              <a:gd name="connsiteY4" fmla="*/ 0 h 3171925"/>
              <a:gd name="connsiteX0" fmla="*/ 190669 w 12432323"/>
              <a:gd name="connsiteY0" fmla="*/ 45201 h 2103897"/>
              <a:gd name="connsiteX1" fmla="*/ 12432323 w 12432323"/>
              <a:gd name="connsiteY1" fmla="*/ 0 h 2103897"/>
              <a:gd name="connsiteX2" fmla="*/ 12259342 w 12432323"/>
              <a:gd name="connsiteY2" fmla="*/ 2098853 h 2103897"/>
              <a:gd name="connsiteX3" fmla="*/ 0 w 12432323"/>
              <a:gd name="connsiteY3" fmla="*/ 2103897 h 2103897"/>
              <a:gd name="connsiteX4" fmla="*/ 190669 w 12432323"/>
              <a:gd name="connsiteY4" fmla="*/ 45201 h 2103897"/>
              <a:gd name="connsiteX0" fmla="*/ 190669 w 12259342"/>
              <a:gd name="connsiteY0" fmla="*/ 0 h 2058696"/>
              <a:gd name="connsiteX1" fmla="*/ 12153987 w 12259342"/>
              <a:gd name="connsiteY1" fmla="*/ 1679115 h 2058696"/>
              <a:gd name="connsiteX2" fmla="*/ 12259342 w 12259342"/>
              <a:gd name="connsiteY2" fmla="*/ 2053652 h 2058696"/>
              <a:gd name="connsiteX3" fmla="*/ 0 w 12259342"/>
              <a:gd name="connsiteY3" fmla="*/ 2058696 h 2058696"/>
              <a:gd name="connsiteX4" fmla="*/ 190669 w 12259342"/>
              <a:gd name="connsiteY4" fmla="*/ 0 h 2058696"/>
              <a:gd name="connsiteX0" fmla="*/ 190669 w 12326628"/>
              <a:gd name="connsiteY0" fmla="*/ 0 h 2058696"/>
              <a:gd name="connsiteX1" fmla="*/ 12326628 w 12326628"/>
              <a:gd name="connsiteY1" fmla="*/ 1165535 h 2058696"/>
              <a:gd name="connsiteX2" fmla="*/ 12259342 w 12326628"/>
              <a:gd name="connsiteY2" fmla="*/ 2053652 h 2058696"/>
              <a:gd name="connsiteX3" fmla="*/ 0 w 12326628"/>
              <a:gd name="connsiteY3" fmla="*/ 2058696 h 2058696"/>
              <a:gd name="connsiteX4" fmla="*/ 190669 w 12326628"/>
              <a:gd name="connsiteY4" fmla="*/ 0 h 2058696"/>
              <a:gd name="connsiteX0" fmla="*/ 243200 w 12326628"/>
              <a:gd name="connsiteY0" fmla="*/ 0 h 1728786"/>
              <a:gd name="connsiteX1" fmla="*/ 12326628 w 12326628"/>
              <a:gd name="connsiteY1" fmla="*/ 835625 h 1728786"/>
              <a:gd name="connsiteX2" fmla="*/ 12259342 w 12326628"/>
              <a:gd name="connsiteY2" fmla="*/ 1723742 h 1728786"/>
              <a:gd name="connsiteX3" fmla="*/ 0 w 12326628"/>
              <a:gd name="connsiteY3" fmla="*/ 1728786 h 1728786"/>
              <a:gd name="connsiteX4" fmla="*/ 243200 w 12326628"/>
              <a:gd name="connsiteY4" fmla="*/ 0 h 1728786"/>
              <a:gd name="connsiteX0" fmla="*/ 176851 w 12326628"/>
              <a:gd name="connsiteY0" fmla="*/ 0 h 1966953"/>
              <a:gd name="connsiteX1" fmla="*/ 12326628 w 12326628"/>
              <a:gd name="connsiteY1" fmla="*/ 1073792 h 1966953"/>
              <a:gd name="connsiteX2" fmla="*/ 12259342 w 12326628"/>
              <a:gd name="connsiteY2" fmla="*/ 1961909 h 1966953"/>
              <a:gd name="connsiteX3" fmla="*/ 0 w 12326628"/>
              <a:gd name="connsiteY3" fmla="*/ 1966953 h 1966953"/>
              <a:gd name="connsiteX4" fmla="*/ 176851 w 12326628"/>
              <a:gd name="connsiteY4" fmla="*/ 0 h 1966953"/>
              <a:gd name="connsiteX0" fmla="*/ 149627 w 12299404"/>
              <a:gd name="connsiteY0" fmla="*/ 0 h 1961909"/>
              <a:gd name="connsiteX1" fmla="*/ 12299404 w 12299404"/>
              <a:gd name="connsiteY1" fmla="*/ 1073792 h 1961909"/>
              <a:gd name="connsiteX2" fmla="*/ 12232118 w 12299404"/>
              <a:gd name="connsiteY2" fmla="*/ 1961909 h 1961909"/>
              <a:gd name="connsiteX3" fmla="*/ 0 w 12299404"/>
              <a:gd name="connsiteY3" fmla="*/ 1522010 h 1961909"/>
              <a:gd name="connsiteX4" fmla="*/ 149627 w 12299404"/>
              <a:gd name="connsiteY4" fmla="*/ 0 h 1961909"/>
              <a:gd name="connsiteX0" fmla="*/ 149627 w 12299404"/>
              <a:gd name="connsiteY0" fmla="*/ 0 h 1713997"/>
              <a:gd name="connsiteX1" fmla="*/ 12299404 w 12299404"/>
              <a:gd name="connsiteY1" fmla="*/ 1073792 h 1713997"/>
              <a:gd name="connsiteX2" fmla="*/ 12253761 w 12299404"/>
              <a:gd name="connsiteY2" fmla="*/ 1713997 h 1713997"/>
              <a:gd name="connsiteX3" fmla="*/ 0 w 12299404"/>
              <a:gd name="connsiteY3" fmla="*/ 1522010 h 1713997"/>
              <a:gd name="connsiteX4" fmla="*/ 149627 w 12299404"/>
              <a:gd name="connsiteY4" fmla="*/ 0 h 171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99404" h="1713997">
                <a:moveTo>
                  <a:pt x="149627" y="0"/>
                </a:moveTo>
                <a:lnTo>
                  <a:pt x="12299404" y="1073792"/>
                </a:lnTo>
                <a:lnTo>
                  <a:pt x="12253761" y="1713997"/>
                </a:lnTo>
                <a:lnTo>
                  <a:pt x="0" y="1522010"/>
                </a:lnTo>
                <a:lnTo>
                  <a:pt x="149627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7EC629-02F8-484C-ADC6-4BBCEDAF2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51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7EC629-02F8-484C-ADC6-4BBCEDAF2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arcador de texto 2">
            <a:extLst>
              <a:ext uri="{FF2B5EF4-FFF2-40B4-BE49-F238E27FC236}">
                <a16:creationId xmlns:a16="http://schemas.microsoft.com/office/drawing/2014/main" id="{07DA8050-7B9B-4180-9354-4A54C06115DE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A1271B-017E-4E03-B74E-17B19333A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2BC54C6-BC47-49BD-BA31-576633C986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8790" y="1396800"/>
            <a:ext cx="11446270" cy="329094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69BC5B1-6581-47D9-A045-80CBDA8A09BB}"/>
              </a:ext>
            </a:extLst>
          </p:cNvPr>
          <p:cNvSpPr/>
          <p:nvPr userDrawn="1"/>
        </p:nvSpPr>
        <p:spPr>
          <a:xfrm>
            <a:off x="3051745" y="-30489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AE161F-D8E3-4773-8ECC-F30205E6B9D5}"/>
              </a:ext>
            </a:extLst>
          </p:cNvPr>
          <p:cNvSpPr/>
          <p:nvPr userDrawn="1"/>
        </p:nvSpPr>
        <p:spPr>
          <a:xfrm>
            <a:off x="7490" y="-30489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5030CC-10C3-411C-A435-4DFA738366A2}"/>
              </a:ext>
            </a:extLst>
          </p:cNvPr>
          <p:cNvSpPr/>
          <p:nvPr userDrawn="1"/>
        </p:nvSpPr>
        <p:spPr>
          <a:xfrm>
            <a:off x="9149414" y="-30502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CB39257-D6EA-4DB4-870E-3C5B218949A1}"/>
              </a:ext>
            </a:extLst>
          </p:cNvPr>
          <p:cNvSpPr/>
          <p:nvPr userDrawn="1"/>
        </p:nvSpPr>
        <p:spPr>
          <a:xfrm>
            <a:off x="6105159" y="-30502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Marcador de posición de imagen 2">
            <a:extLst>
              <a:ext uri="{FF2B5EF4-FFF2-40B4-BE49-F238E27FC236}">
                <a16:creationId xmlns:a16="http://schemas.microsoft.com/office/drawing/2014/main" id="{FED831ED-42BC-4485-A531-4D3EBEB11BE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25" y="5357204"/>
            <a:ext cx="12209488" cy="1514242"/>
          </a:xfrm>
          <a:custGeom>
            <a:avLst/>
            <a:gdLst>
              <a:gd name="connsiteX0" fmla="*/ 0 w 12192000"/>
              <a:gd name="connsiteY0" fmla="*/ 0 h 941294"/>
              <a:gd name="connsiteX1" fmla="*/ 12192000 w 12192000"/>
              <a:gd name="connsiteY1" fmla="*/ 0 h 941294"/>
              <a:gd name="connsiteX2" fmla="*/ 12192000 w 12192000"/>
              <a:gd name="connsiteY2" fmla="*/ 941294 h 941294"/>
              <a:gd name="connsiteX3" fmla="*/ 0 w 12192000"/>
              <a:gd name="connsiteY3" fmla="*/ 941294 h 941294"/>
              <a:gd name="connsiteX4" fmla="*/ 0 w 12192000"/>
              <a:gd name="connsiteY4" fmla="*/ 0 h 941294"/>
              <a:gd name="connsiteX0" fmla="*/ 0 w 12209362"/>
              <a:gd name="connsiteY0" fmla="*/ 1024360 h 1965654"/>
              <a:gd name="connsiteX1" fmla="*/ 12209362 w 12209362"/>
              <a:gd name="connsiteY1" fmla="*/ 0 h 1965654"/>
              <a:gd name="connsiteX2" fmla="*/ 12192000 w 12209362"/>
              <a:gd name="connsiteY2" fmla="*/ 1965654 h 1965654"/>
              <a:gd name="connsiteX3" fmla="*/ 0 w 12209362"/>
              <a:gd name="connsiteY3" fmla="*/ 1965654 h 1965654"/>
              <a:gd name="connsiteX4" fmla="*/ 0 w 12209362"/>
              <a:gd name="connsiteY4" fmla="*/ 1024360 h 1965654"/>
              <a:gd name="connsiteX0" fmla="*/ 0 w 12209362"/>
              <a:gd name="connsiteY0" fmla="*/ 1024360 h 1983016"/>
              <a:gd name="connsiteX1" fmla="*/ 12209362 w 12209362"/>
              <a:gd name="connsiteY1" fmla="*/ 0 h 1983016"/>
              <a:gd name="connsiteX2" fmla="*/ 12209362 w 12209362"/>
              <a:gd name="connsiteY2" fmla="*/ 1983016 h 1983016"/>
              <a:gd name="connsiteX3" fmla="*/ 0 w 12209362"/>
              <a:gd name="connsiteY3" fmla="*/ 1965654 h 1983016"/>
              <a:gd name="connsiteX4" fmla="*/ 0 w 12209362"/>
              <a:gd name="connsiteY4" fmla="*/ 1024360 h 1983016"/>
              <a:gd name="connsiteX0" fmla="*/ 0 w 12209362"/>
              <a:gd name="connsiteY0" fmla="*/ 1024360 h 1983016"/>
              <a:gd name="connsiteX1" fmla="*/ 12209362 w 12209362"/>
              <a:gd name="connsiteY1" fmla="*/ 0 h 1983016"/>
              <a:gd name="connsiteX2" fmla="*/ 12203575 w 12209362"/>
              <a:gd name="connsiteY2" fmla="*/ 1983016 h 1983016"/>
              <a:gd name="connsiteX3" fmla="*/ 0 w 12209362"/>
              <a:gd name="connsiteY3" fmla="*/ 1965654 h 1983016"/>
              <a:gd name="connsiteX4" fmla="*/ 0 w 12209362"/>
              <a:gd name="connsiteY4" fmla="*/ 1024360 h 1983016"/>
              <a:gd name="connsiteX0" fmla="*/ 0 w 12215150"/>
              <a:gd name="connsiteY0" fmla="*/ 1088020 h 1983016"/>
              <a:gd name="connsiteX1" fmla="*/ 12215150 w 12215150"/>
              <a:gd name="connsiteY1" fmla="*/ 0 h 1983016"/>
              <a:gd name="connsiteX2" fmla="*/ 12209363 w 12215150"/>
              <a:gd name="connsiteY2" fmla="*/ 1983016 h 1983016"/>
              <a:gd name="connsiteX3" fmla="*/ 5788 w 12215150"/>
              <a:gd name="connsiteY3" fmla="*/ 1965654 h 1983016"/>
              <a:gd name="connsiteX4" fmla="*/ 0 w 12215150"/>
              <a:gd name="connsiteY4" fmla="*/ 1088020 h 1983016"/>
              <a:gd name="connsiteX0" fmla="*/ 0 w 12209363"/>
              <a:gd name="connsiteY0" fmla="*/ 1076446 h 1971442"/>
              <a:gd name="connsiteX1" fmla="*/ 12209363 w 12209363"/>
              <a:gd name="connsiteY1" fmla="*/ 0 h 1971442"/>
              <a:gd name="connsiteX2" fmla="*/ 12209363 w 12209363"/>
              <a:gd name="connsiteY2" fmla="*/ 1971442 h 1971442"/>
              <a:gd name="connsiteX3" fmla="*/ 5788 w 12209363"/>
              <a:gd name="connsiteY3" fmla="*/ 1954080 h 1971442"/>
              <a:gd name="connsiteX4" fmla="*/ 0 w 12209363"/>
              <a:gd name="connsiteY4" fmla="*/ 1076446 h 1971442"/>
              <a:gd name="connsiteX0" fmla="*/ 0 w 12215151"/>
              <a:gd name="connsiteY0" fmla="*/ 619246 h 1514242"/>
              <a:gd name="connsiteX1" fmla="*/ 12215151 w 12215151"/>
              <a:gd name="connsiteY1" fmla="*/ 0 h 1514242"/>
              <a:gd name="connsiteX2" fmla="*/ 12209363 w 12215151"/>
              <a:gd name="connsiteY2" fmla="*/ 1514242 h 1514242"/>
              <a:gd name="connsiteX3" fmla="*/ 5788 w 12215151"/>
              <a:gd name="connsiteY3" fmla="*/ 1496880 h 1514242"/>
              <a:gd name="connsiteX4" fmla="*/ 0 w 12215151"/>
              <a:gd name="connsiteY4" fmla="*/ 619246 h 1514242"/>
              <a:gd name="connsiteX0" fmla="*/ 17486 w 12209488"/>
              <a:gd name="connsiteY0" fmla="*/ 873889 h 1514242"/>
              <a:gd name="connsiteX1" fmla="*/ 12209488 w 12209488"/>
              <a:gd name="connsiteY1" fmla="*/ 0 h 1514242"/>
              <a:gd name="connsiteX2" fmla="*/ 12203700 w 12209488"/>
              <a:gd name="connsiteY2" fmla="*/ 1514242 h 1514242"/>
              <a:gd name="connsiteX3" fmla="*/ 125 w 12209488"/>
              <a:gd name="connsiteY3" fmla="*/ 1496880 h 1514242"/>
              <a:gd name="connsiteX4" fmla="*/ 17486 w 12209488"/>
              <a:gd name="connsiteY4" fmla="*/ 873889 h 1514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9488" h="1514242">
                <a:moveTo>
                  <a:pt x="17486" y="873889"/>
                </a:moveTo>
                <a:lnTo>
                  <a:pt x="12209488" y="0"/>
                </a:lnTo>
                <a:cubicBezTo>
                  <a:pt x="12207559" y="504747"/>
                  <a:pt x="12205629" y="1009495"/>
                  <a:pt x="12203700" y="1514242"/>
                </a:cubicBezTo>
                <a:lnTo>
                  <a:pt x="125" y="1496880"/>
                </a:lnTo>
                <a:cubicBezTo>
                  <a:pt x="-1804" y="1204335"/>
                  <a:pt x="19415" y="1166434"/>
                  <a:pt x="17486" y="873889"/>
                </a:cubicBezTo>
                <a:close/>
              </a:path>
            </a:pathLst>
          </a:cu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5741262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1508AF-6CC8-4D7F-BD77-94F9068BA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7231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71508AF-6CC8-4D7F-BD77-94F9068BA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059AFB1-C7D6-6743-933B-FA747A91A0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0D0F9B9-6CAF-46B3-AD63-CF660E44EB8B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0862F4-D2D4-4BF0-A385-BB7246292A8E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A04021-3D09-4ACE-B394-E39C11DF6AF0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9B06D2-B642-4449-B641-DA223E91679C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" name="Rectángulo 1">
            <a:extLst>
              <a:ext uri="{FF2B5EF4-FFF2-40B4-BE49-F238E27FC236}">
                <a16:creationId xmlns:a16="http://schemas.microsoft.com/office/drawing/2014/main" id="{B13B09CC-E931-4F49-AC14-89B567B70311}"/>
              </a:ext>
            </a:extLst>
          </p:cNvPr>
          <p:cNvSpPr/>
          <p:nvPr userDrawn="1"/>
        </p:nvSpPr>
        <p:spPr>
          <a:xfrm rot="10500648">
            <a:off x="-628" y="5686881"/>
            <a:ext cx="12299404" cy="1713997"/>
          </a:xfrm>
          <a:custGeom>
            <a:avLst/>
            <a:gdLst>
              <a:gd name="connsiteX0" fmla="*/ 0 w 12316995"/>
              <a:gd name="connsiteY0" fmla="*/ 0 h 2636838"/>
              <a:gd name="connsiteX1" fmla="*/ 12316995 w 12316995"/>
              <a:gd name="connsiteY1" fmla="*/ 0 h 2636838"/>
              <a:gd name="connsiteX2" fmla="*/ 12316995 w 12316995"/>
              <a:gd name="connsiteY2" fmla="*/ 2636838 h 2636838"/>
              <a:gd name="connsiteX3" fmla="*/ 0 w 12316995"/>
              <a:gd name="connsiteY3" fmla="*/ 2636838 h 2636838"/>
              <a:gd name="connsiteX4" fmla="*/ 0 w 12316995"/>
              <a:gd name="connsiteY4" fmla="*/ 0 h 2636838"/>
              <a:gd name="connsiteX0" fmla="*/ 291720 w 12316995"/>
              <a:gd name="connsiteY0" fmla="*/ 0 h 3165979"/>
              <a:gd name="connsiteX1" fmla="*/ 12316995 w 12316995"/>
              <a:gd name="connsiteY1" fmla="*/ 529141 h 3165979"/>
              <a:gd name="connsiteX2" fmla="*/ 12316995 w 12316995"/>
              <a:gd name="connsiteY2" fmla="*/ 3165979 h 3165979"/>
              <a:gd name="connsiteX3" fmla="*/ 0 w 12316995"/>
              <a:gd name="connsiteY3" fmla="*/ 3165979 h 3165979"/>
              <a:gd name="connsiteX4" fmla="*/ 291720 w 12316995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316995 w 12427262"/>
              <a:gd name="connsiteY2" fmla="*/ 3165979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259342 w 12427262"/>
              <a:gd name="connsiteY2" fmla="*/ 3160935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32323"/>
              <a:gd name="connsiteY0" fmla="*/ 0 h 3165979"/>
              <a:gd name="connsiteX1" fmla="*/ 12432323 w 12432323"/>
              <a:gd name="connsiteY1" fmla="*/ 1062082 h 3165979"/>
              <a:gd name="connsiteX2" fmla="*/ 12259342 w 12432323"/>
              <a:gd name="connsiteY2" fmla="*/ 3160935 h 3165979"/>
              <a:gd name="connsiteX3" fmla="*/ 0 w 12432323"/>
              <a:gd name="connsiteY3" fmla="*/ 3165979 h 3165979"/>
              <a:gd name="connsiteX4" fmla="*/ 291720 w 12432323"/>
              <a:gd name="connsiteY4" fmla="*/ 0 h 3165979"/>
              <a:gd name="connsiteX0" fmla="*/ 282042 w 12432323"/>
              <a:gd name="connsiteY0" fmla="*/ 0 h 3171925"/>
              <a:gd name="connsiteX1" fmla="*/ 12432323 w 12432323"/>
              <a:gd name="connsiteY1" fmla="*/ 1068028 h 3171925"/>
              <a:gd name="connsiteX2" fmla="*/ 12259342 w 12432323"/>
              <a:gd name="connsiteY2" fmla="*/ 3166881 h 3171925"/>
              <a:gd name="connsiteX3" fmla="*/ 0 w 12432323"/>
              <a:gd name="connsiteY3" fmla="*/ 3171925 h 3171925"/>
              <a:gd name="connsiteX4" fmla="*/ 282042 w 12432323"/>
              <a:gd name="connsiteY4" fmla="*/ 0 h 3171925"/>
              <a:gd name="connsiteX0" fmla="*/ 190669 w 12432323"/>
              <a:gd name="connsiteY0" fmla="*/ 45201 h 2103897"/>
              <a:gd name="connsiteX1" fmla="*/ 12432323 w 12432323"/>
              <a:gd name="connsiteY1" fmla="*/ 0 h 2103897"/>
              <a:gd name="connsiteX2" fmla="*/ 12259342 w 12432323"/>
              <a:gd name="connsiteY2" fmla="*/ 2098853 h 2103897"/>
              <a:gd name="connsiteX3" fmla="*/ 0 w 12432323"/>
              <a:gd name="connsiteY3" fmla="*/ 2103897 h 2103897"/>
              <a:gd name="connsiteX4" fmla="*/ 190669 w 12432323"/>
              <a:gd name="connsiteY4" fmla="*/ 45201 h 2103897"/>
              <a:gd name="connsiteX0" fmla="*/ 190669 w 12259342"/>
              <a:gd name="connsiteY0" fmla="*/ 0 h 2058696"/>
              <a:gd name="connsiteX1" fmla="*/ 12153987 w 12259342"/>
              <a:gd name="connsiteY1" fmla="*/ 1679115 h 2058696"/>
              <a:gd name="connsiteX2" fmla="*/ 12259342 w 12259342"/>
              <a:gd name="connsiteY2" fmla="*/ 2053652 h 2058696"/>
              <a:gd name="connsiteX3" fmla="*/ 0 w 12259342"/>
              <a:gd name="connsiteY3" fmla="*/ 2058696 h 2058696"/>
              <a:gd name="connsiteX4" fmla="*/ 190669 w 12259342"/>
              <a:gd name="connsiteY4" fmla="*/ 0 h 2058696"/>
              <a:gd name="connsiteX0" fmla="*/ 190669 w 12326628"/>
              <a:gd name="connsiteY0" fmla="*/ 0 h 2058696"/>
              <a:gd name="connsiteX1" fmla="*/ 12326628 w 12326628"/>
              <a:gd name="connsiteY1" fmla="*/ 1165535 h 2058696"/>
              <a:gd name="connsiteX2" fmla="*/ 12259342 w 12326628"/>
              <a:gd name="connsiteY2" fmla="*/ 2053652 h 2058696"/>
              <a:gd name="connsiteX3" fmla="*/ 0 w 12326628"/>
              <a:gd name="connsiteY3" fmla="*/ 2058696 h 2058696"/>
              <a:gd name="connsiteX4" fmla="*/ 190669 w 12326628"/>
              <a:gd name="connsiteY4" fmla="*/ 0 h 2058696"/>
              <a:gd name="connsiteX0" fmla="*/ 243200 w 12326628"/>
              <a:gd name="connsiteY0" fmla="*/ 0 h 1728786"/>
              <a:gd name="connsiteX1" fmla="*/ 12326628 w 12326628"/>
              <a:gd name="connsiteY1" fmla="*/ 835625 h 1728786"/>
              <a:gd name="connsiteX2" fmla="*/ 12259342 w 12326628"/>
              <a:gd name="connsiteY2" fmla="*/ 1723742 h 1728786"/>
              <a:gd name="connsiteX3" fmla="*/ 0 w 12326628"/>
              <a:gd name="connsiteY3" fmla="*/ 1728786 h 1728786"/>
              <a:gd name="connsiteX4" fmla="*/ 243200 w 12326628"/>
              <a:gd name="connsiteY4" fmla="*/ 0 h 1728786"/>
              <a:gd name="connsiteX0" fmla="*/ 176851 w 12326628"/>
              <a:gd name="connsiteY0" fmla="*/ 0 h 1966953"/>
              <a:gd name="connsiteX1" fmla="*/ 12326628 w 12326628"/>
              <a:gd name="connsiteY1" fmla="*/ 1073792 h 1966953"/>
              <a:gd name="connsiteX2" fmla="*/ 12259342 w 12326628"/>
              <a:gd name="connsiteY2" fmla="*/ 1961909 h 1966953"/>
              <a:gd name="connsiteX3" fmla="*/ 0 w 12326628"/>
              <a:gd name="connsiteY3" fmla="*/ 1966953 h 1966953"/>
              <a:gd name="connsiteX4" fmla="*/ 176851 w 12326628"/>
              <a:gd name="connsiteY4" fmla="*/ 0 h 1966953"/>
              <a:gd name="connsiteX0" fmla="*/ 149627 w 12299404"/>
              <a:gd name="connsiteY0" fmla="*/ 0 h 1961909"/>
              <a:gd name="connsiteX1" fmla="*/ 12299404 w 12299404"/>
              <a:gd name="connsiteY1" fmla="*/ 1073792 h 1961909"/>
              <a:gd name="connsiteX2" fmla="*/ 12232118 w 12299404"/>
              <a:gd name="connsiteY2" fmla="*/ 1961909 h 1961909"/>
              <a:gd name="connsiteX3" fmla="*/ 0 w 12299404"/>
              <a:gd name="connsiteY3" fmla="*/ 1522010 h 1961909"/>
              <a:gd name="connsiteX4" fmla="*/ 149627 w 12299404"/>
              <a:gd name="connsiteY4" fmla="*/ 0 h 1961909"/>
              <a:gd name="connsiteX0" fmla="*/ 149627 w 12299404"/>
              <a:gd name="connsiteY0" fmla="*/ 0 h 1713997"/>
              <a:gd name="connsiteX1" fmla="*/ 12299404 w 12299404"/>
              <a:gd name="connsiteY1" fmla="*/ 1073792 h 1713997"/>
              <a:gd name="connsiteX2" fmla="*/ 12253761 w 12299404"/>
              <a:gd name="connsiteY2" fmla="*/ 1713997 h 1713997"/>
              <a:gd name="connsiteX3" fmla="*/ 0 w 12299404"/>
              <a:gd name="connsiteY3" fmla="*/ 1522010 h 1713997"/>
              <a:gd name="connsiteX4" fmla="*/ 149627 w 12299404"/>
              <a:gd name="connsiteY4" fmla="*/ 0 h 171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99404" h="1713997">
                <a:moveTo>
                  <a:pt x="149627" y="0"/>
                </a:moveTo>
                <a:lnTo>
                  <a:pt x="12299404" y="1073792"/>
                </a:lnTo>
                <a:lnTo>
                  <a:pt x="12253761" y="1713997"/>
                </a:lnTo>
                <a:lnTo>
                  <a:pt x="0" y="1522010"/>
                </a:lnTo>
                <a:lnTo>
                  <a:pt x="149627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2668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059AFB1-C7D6-6743-933B-FA747A91A0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1508AF-6CC8-4D7F-BD77-94F9068BA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125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71508AF-6CC8-4D7F-BD77-94F9068BA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0D0F9B9-6CAF-46B3-AD63-CF660E44EB8B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0862F4-D2D4-4BF0-A385-BB7246292A8E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A04021-3D09-4ACE-B394-E39C11DF6AF0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9B06D2-B642-4449-B641-DA223E91679C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" name="Rectángulo 1">
            <a:extLst>
              <a:ext uri="{FF2B5EF4-FFF2-40B4-BE49-F238E27FC236}">
                <a16:creationId xmlns:a16="http://schemas.microsoft.com/office/drawing/2014/main" id="{FCDE7C8E-00A7-428B-BAEB-E5D2EE2AC110}"/>
              </a:ext>
            </a:extLst>
          </p:cNvPr>
          <p:cNvSpPr/>
          <p:nvPr userDrawn="1"/>
        </p:nvSpPr>
        <p:spPr>
          <a:xfrm rot="10500648">
            <a:off x="-93990" y="3665899"/>
            <a:ext cx="12457796" cy="3714092"/>
          </a:xfrm>
          <a:custGeom>
            <a:avLst/>
            <a:gdLst>
              <a:gd name="connsiteX0" fmla="*/ 0 w 12316995"/>
              <a:gd name="connsiteY0" fmla="*/ 0 h 2636838"/>
              <a:gd name="connsiteX1" fmla="*/ 12316995 w 12316995"/>
              <a:gd name="connsiteY1" fmla="*/ 0 h 2636838"/>
              <a:gd name="connsiteX2" fmla="*/ 12316995 w 12316995"/>
              <a:gd name="connsiteY2" fmla="*/ 2636838 h 2636838"/>
              <a:gd name="connsiteX3" fmla="*/ 0 w 12316995"/>
              <a:gd name="connsiteY3" fmla="*/ 2636838 h 2636838"/>
              <a:gd name="connsiteX4" fmla="*/ 0 w 12316995"/>
              <a:gd name="connsiteY4" fmla="*/ 0 h 2636838"/>
              <a:gd name="connsiteX0" fmla="*/ 291720 w 12316995"/>
              <a:gd name="connsiteY0" fmla="*/ 0 h 3165979"/>
              <a:gd name="connsiteX1" fmla="*/ 12316995 w 12316995"/>
              <a:gd name="connsiteY1" fmla="*/ 529141 h 3165979"/>
              <a:gd name="connsiteX2" fmla="*/ 12316995 w 12316995"/>
              <a:gd name="connsiteY2" fmla="*/ 3165979 h 3165979"/>
              <a:gd name="connsiteX3" fmla="*/ 0 w 12316995"/>
              <a:gd name="connsiteY3" fmla="*/ 3165979 h 3165979"/>
              <a:gd name="connsiteX4" fmla="*/ 291720 w 12316995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316995 w 12427262"/>
              <a:gd name="connsiteY2" fmla="*/ 3165979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259342 w 12427262"/>
              <a:gd name="connsiteY2" fmla="*/ 3160935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32323"/>
              <a:gd name="connsiteY0" fmla="*/ 0 h 3165979"/>
              <a:gd name="connsiteX1" fmla="*/ 12432323 w 12432323"/>
              <a:gd name="connsiteY1" fmla="*/ 1062082 h 3165979"/>
              <a:gd name="connsiteX2" fmla="*/ 12259342 w 12432323"/>
              <a:gd name="connsiteY2" fmla="*/ 3160935 h 3165979"/>
              <a:gd name="connsiteX3" fmla="*/ 0 w 12432323"/>
              <a:gd name="connsiteY3" fmla="*/ 3165979 h 3165979"/>
              <a:gd name="connsiteX4" fmla="*/ 291720 w 12432323"/>
              <a:gd name="connsiteY4" fmla="*/ 0 h 3165979"/>
              <a:gd name="connsiteX0" fmla="*/ 282042 w 12432323"/>
              <a:gd name="connsiteY0" fmla="*/ 0 h 3171925"/>
              <a:gd name="connsiteX1" fmla="*/ 12432323 w 12432323"/>
              <a:gd name="connsiteY1" fmla="*/ 1068028 h 3171925"/>
              <a:gd name="connsiteX2" fmla="*/ 12259342 w 12432323"/>
              <a:gd name="connsiteY2" fmla="*/ 3166881 h 3171925"/>
              <a:gd name="connsiteX3" fmla="*/ 0 w 12432323"/>
              <a:gd name="connsiteY3" fmla="*/ 3171925 h 3171925"/>
              <a:gd name="connsiteX4" fmla="*/ 282042 w 12432323"/>
              <a:gd name="connsiteY4" fmla="*/ 0 h 3171925"/>
              <a:gd name="connsiteX0" fmla="*/ 190669 w 12432323"/>
              <a:gd name="connsiteY0" fmla="*/ 45201 h 2103897"/>
              <a:gd name="connsiteX1" fmla="*/ 12432323 w 12432323"/>
              <a:gd name="connsiteY1" fmla="*/ 0 h 2103897"/>
              <a:gd name="connsiteX2" fmla="*/ 12259342 w 12432323"/>
              <a:gd name="connsiteY2" fmla="*/ 2098853 h 2103897"/>
              <a:gd name="connsiteX3" fmla="*/ 0 w 12432323"/>
              <a:gd name="connsiteY3" fmla="*/ 2103897 h 2103897"/>
              <a:gd name="connsiteX4" fmla="*/ 190669 w 12432323"/>
              <a:gd name="connsiteY4" fmla="*/ 45201 h 2103897"/>
              <a:gd name="connsiteX0" fmla="*/ 190669 w 12259342"/>
              <a:gd name="connsiteY0" fmla="*/ 0 h 2058696"/>
              <a:gd name="connsiteX1" fmla="*/ 12153987 w 12259342"/>
              <a:gd name="connsiteY1" fmla="*/ 1679115 h 2058696"/>
              <a:gd name="connsiteX2" fmla="*/ 12259342 w 12259342"/>
              <a:gd name="connsiteY2" fmla="*/ 2053652 h 2058696"/>
              <a:gd name="connsiteX3" fmla="*/ 0 w 12259342"/>
              <a:gd name="connsiteY3" fmla="*/ 2058696 h 2058696"/>
              <a:gd name="connsiteX4" fmla="*/ 190669 w 12259342"/>
              <a:gd name="connsiteY4" fmla="*/ 0 h 2058696"/>
              <a:gd name="connsiteX0" fmla="*/ 190669 w 12326628"/>
              <a:gd name="connsiteY0" fmla="*/ 0 h 2058696"/>
              <a:gd name="connsiteX1" fmla="*/ 12326628 w 12326628"/>
              <a:gd name="connsiteY1" fmla="*/ 1165535 h 2058696"/>
              <a:gd name="connsiteX2" fmla="*/ 12259342 w 12326628"/>
              <a:gd name="connsiteY2" fmla="*/ 2053652 h 2058696"/>
              <a:gd name="connsiteX3" fmla="*/ 0 w 12326628"/>
              <a:gd name="connsiteY3" fmla="*/ 2058696 h 2058696"/>
              <a:gd name="connsiteX4" fmla="*/ 190669 w 12326628"/>
              <a:gd name="connsiteY4" fmla="*/ 0 h 2058696"/>
              <a:gd name="connsiteX0" fmla="*/ 243200 w 12326628"/>
              <a:gd name="connsiteY0" fmla="*/ 0 h 1728786"/>
              <a:gd name="connsiteX1" fmla="*/ 12326628 w 12326628"/>
              <a:gd name="connsiteY1" fmla="*/ 835625 h 1728786"/>
              <a:gd name="connsiteX2" fmla="*/ 12259342 w 12326628"/>
              <a:gd name="connsiteY2" fmla="*/ 1723742 h 1728786"/>
              <a:gd name="connsiteX3" fmla="*/ 0 w 12326628"/>
              <a:gd name="connsiteY3" fmla="*/ 1728786 h 1728786"/>
              <a:gd name="connsiteX4" fmla="*/ 243200 w 12326628"/>
              <a:gd name="connsiteY4" fmla="*/ 0 h 1728786"/>
              <a:gd name="connsiteX0" fmla="*/ 176851 w 12326628"/>
              <a:gd name="connsiteY0" fmla="*/ 0 h 1966953"/>
              <a:gd name="connsiteX1" fmla="*/ 12326628 w 12326628"/>
              <a:gd name="connsiteY1" fmla="*/ 1073792 h 1966953"/>
              <a:gd name="connsiteX2" fmla="*/ 12259342 w 12326628"/>
              <a:gd name="connsiteY2" fmla="*/ 1961909 h 1966953"/>
              <a:gd name="connsiteX3" fmla="*/ 0 w 12326628"/>
              <a:gd name="connsiteY3" fmla="*/ 1966953 h 1966953"/>
              <a:gd name="connsiteX4" fmla="*/ 176851 w 12326628"/>
              <a:gd name="connsiteY4" fmla="*/ 0 h 1966953"/>
              <a:gd name="connsiteX0" fmla="*/ 149627 w 12299404"/>
              <a:gd name="connsiteY0" fmla="*/ 0 h 1961909"/>
              <a:gd name="connsiteX1" fmla="*/ 12299404 w 12299404"/>
              <a:gd name="connsiteY1" fmla="*/ 1073792 h 1961909"/>
              <a:gd name="connsiteX2" fmla="*/ 12232118 w 12299404"/>
              <a:gd name="connsiteY2" fmla="*/ 1961909 h 1961909"/>
              <a:gd name="connsiteX3" fmla="*/ 0 w 12299404"/>
              <a:gd name="connsiteY3" fmla="*/ 1522010 h 1961909"/>
              <a:gd name="connsiteX4" fmla="*/ 149627 w 12299404"/>
              <a:gd name="connsiteY4" fmla="*/ 0 h 1961909"/>
              <a:gd name="connsiteX0" fmla="*/ 149627 w 12299404"/>
              <a:gd name="connsiteY0" fmla="*/ 0 h 1713997"/>
              <a:gd name="connsiteX1" fmla="*/ 12299404 w 12299404"/>
              <a:gd name="connsiteY1" fmla="*/ 1073792 h 1713997"/>
              <a:gd name="connsiteX2" fmla="*/ 12253761 w 12299404"/>
              <a:gd name="connsiteY2" fmla="*/ 1713997 h 1713997"/>
              <a:gd name="connsiteX3" fmla="*/ 0 w 12299404"/>
              <a:gd name="connsiteY3" fmla="*/ 1522010 h 1713997"/>
              <a:gd name="connsiteX4" fmla="*/ 149627 w 12299404"/>
              <a:gd name="connsiteY4" fmla="*/ 0 h 1713997"/>
              <a:gd name="connsiteX0" fmla="*/ 149627 w 12482975"/>
              <a:gd name="connsiteY0" fmla="*/ 925914 h 2639911"/>
              <a:gd name="connsiteX1" fmla="*/ 12482975 w 12482975"/>
              <a:gd name="connsiteY1" fmla="*/ 0 h 2639911"/>
              <a:gd name="connsiteX2" fmla="*/ 12253761 w 12482975"/>
              <a:gd name="connsiteY2" fmla="*/ 2639911 h 2639911"/>
              <a:gd name="connsiteX3" fmla="*/ 0 w 12482975"/>
              <a:gd name="connsiteY3" fmla="*/ 2447924 h 2639911"/>
              <a:gd name="connsiteX4" fmla="*/ 149627 w 12482975"/>
              <a:gd name="connsiteY4" fmla="*/ 925914 h 2639911"/>
              <a:gd name="connsiteX0" fmla="*/ 328732 w 12482975"/>
              <a:gd name="connsiteY0" fmla="*/ 0 h 3714092"/>
              <a:gd name="connsiteX1" fmla="*/ 12482975 w 12482975"/>
              <a:gd name="connsiteY1" fmla="*/ 1074181 h 3714092"/>
              <a:gd name="connsiteX2" fmla="*/ 12253761 w 12482975"/>
              <a:gd name="connsiteY2" fmla="*/ 3714092 h 3714092"/>
              <a:gd name="connsiteX3" fmla="*/ 0 w 12482975"/>
              <a:gd name="connsiteY3" fmla="*/ 3522105 h 3714092"/>
              <a:gd name="connsiteX4" fmla="*/ 328732 w 12482975"/>
              <a:gd name="connsiteY4" fmla="*/ 0 h 3714092"/>
              <a:gd name="connsiteX0" fmla="*/ 306405 w 12460648"/>
              <a:gd name="connsiteY0" fmla="*/ 0 h 3714092"/>
              <a:gd name="connsiteX1" fmla="*/ 12460648 w 12460648"/>
              <a:gd name="connsiteY1" fmla="*/ 1074181 h 3714092"/>
              <a:gd name="connsiteX2" fmla="*/ 12231434 w 12460648"/>
              <a:gd name="connsiteY2" fmla="*/ 3714092 h 3714092"/>
              <a:gd name="connsiteX3" fmla="*/ 0 w 12460648"/>
              <a:gd name="connsiteY3" fmla="*/ 3524054 h 3714092"/>
              <a:gd name="connsiteX4" fmla="*/ 306405 w 12460648"/>
              <a:gd name="connsiteY4" fmla="*/ 0 h 3714092"/>
              <a:gd name="connsiteX0" fmla="*/ 306405 w 12457796"/>
              <a:gd name="connsiteY0" fmla="*/ 0 h 3714092"/>
              <a:gd name="connsiteX1" fmla="*/ 12457796 w 12457796"/>
              <a:gd name="connsiteY1" fmla="*/ 1048435 h 3714092"/>
              <a:gd name="connsiteX2" fmla="*/ 12231434 w 12457796"/>
              <a:gd name="connsiteY2" fmla="*/ 3714092 h 3714092"/>
              <a:gd name="connsiteX3" fmla="*/ 0 w 12457796"/>
              <a:gd name="connsiteY3" fmla="*/ 3524054 h 3714092"/>
              <a:gd name="connsiteX4" fmla="*/ 306405 w 12457796"/>
              <a:gd name="connsiteY4" fmla="*/ 0 h 3714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57796" h="3714092">
                <a:moveTo>
                  <a:pt x="306405" y="0"/>
                </a:moveTo>
                <a:lnTo>
                  <a:pt x="12457796" y="1048435"/>
                </a:lnTo>
                <a:lnTo>
                  <a:pt x="12231434" y="3714092"/>
                </a:lnTo>
                <a:lnTo>
                  <a:pt x="0" y="3524054"/>
                </a:lnTo>
                <a:lnTo>
                  <a:pt x="306405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8806FD4-6140-4662-8DE6-047069B86B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4427760"/>
            <a:ext cx="11453324" cy="43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6B22E73-E72E-4893-A4FA-35D88A51B5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0" y="4963932"/>
            <a:ext cx="11451735" cy="1184868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19934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059AFB1-C7D6-6743-933B-FA747A91A0A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1508AF-6CC8-4D7F-BD77-94F9068BA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3087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71508AF-6CC8-4D7F-BD77-94F9068BA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60D0F9B9-6CAF-46B3-AD63-CF660E44EB8B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0862F4-D2D4-4BF0-A385-BB7246292A8E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A04021-3D09-4ACE-B394-E39C11DF6AF0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9B06D2-B642-4449-B641-DA223E91679C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" name="Rectángulo 1">
            <a:extLst>
              <a:ext uri="{FF2B5EF4-FFF2-40B4-BE49-F238E27FC236}">
                <a16:creationId xmlns:a16="http://schemas.microsoft.com/office/drawing/2014/main" id="{FCDE7C8E-00A7-428B-BAEB-E5D2EE2AC110}"/>
              </a:ext>
            </a:extLst>
          </p:cNvPr>
          <p:cNvSpPr/>
          <p:nvPr userDrawn="1"/>
        </p:nvSpPr>
        <p:spPr>
          <a:xfrm rot="10500648">
            <a:off x="-93990" y="3665899"/>
            <a:ext cx="12457796" cy="3714092"/>
          </a:xfrm>
          <a:custGeom>
            <a:avLst/>
            <a:gdLst>
              <a:gd name="connsiteX0" fmla="*/ 0 w 12316995"/>
              <a:gd name="connsiteY0" fmla="*/ 0 h 2636838"/>
              <a:gd name="connsiteX1" fmla="*/ 12316995 w 12316995"/>
              <a:gd name="connsiteY1" fmla="*/ 0 h 2636838"/>
              <a:gd name="connsiteX2" fmla="*/ 12316995 w 12316995"/>
              <a:gd name="connsiteY2" fmla="*/ 2636838 h 2636838"/>
              <a:gd name="connsiteX3" fmla="*/ 0 w 12316995"/>
              <a:gd name="connsiteY3" fmla="*/ 2636838 h 2636838"/>
              <a:gd name="connsiteX4" fmla="*/ 0 w 12316995"/>
              <a:gd name="connsiteY4" fmla="*/ 0 h 2636838"/>
              <a:gd name="connsiteX0" fmla="*/ 291720 w 12316995"/>
              <a:gd name="connsiteY0" fmla="*/ 0 h 3165979"/>
              <a:gd name="connsiteX1" fmla="*/ 12316995 w 12316995"/>
              <a:gd name="connsiteY1" fmla="*/ 529141 h 3165979"/>
              <a:gd name="connsiteX2" fmla="*/ 12316995 w 12316995"/>
              <a:gd name="connsiteY2" fmla="*/ 3165979 h 3165979"/>
              <a:gd name="connsiteX3" fmla="*/ 0 w 12316995"/>
              <a:gd name="connsiteY3" fmla="*/ 3165979 h 3165979"/>
              <a:gd name="connsiteX4" fmla="*/ 291720 w 12316995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316995 w 12427262"/>
              <a:gd name="connsiteY2" fmla="*/ 3165979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259342 w 12427262"/>
              <a:gd name="connsiteY2" fmla="*/ 3160935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32323"/>
              <a:gd name="connsiteY0" fmla="*/ 0 h 3165979"/>
              <a:gd name="connsiteX1" fmla="*/ 12432323 w 12432323"/>
              <a:gd name="connsiteY1" fmla="*/ 1062082 h 3165979"/>
              <a:gd name="connsiteX2" fmla="*/ 12259342 w 12432323"/>
              <a:gd name="connsiteY2" fmla="*/ 3160935 h 3165979"/>
              <a:gd name="connsiteX3" fmla="*/ 0 w 12432323"/>
              <a:gd name="connsiteY3" fmla="*/ 3165979 h 3165979"/>
              <a:gd name="connsiteX4" fmla="*/ 291720 w 12432323"/>
              <a:gd name="connsiteY4" fmla="*/ 0 h 3165979"/>
              <a:gd name="connsiteX0" fmla="*/ 282042 w 12432323"/>
              <a:gd name="connsiteY0" fmla="*/ 0 h 3171925"/>
              <a:gd name="connsiteX1" fmla="*/ 12432323 w 12432323"/>
              <a:gd name="connsiteY1" fmla="*/ 1068028 h 3171925"/>
              <a:gd name="connsiteX2" fmla="*/ 12259342 w 12432323"/>
              <a:gd name="connsiteY2" fmla="*/ 3166881 h 3171925"/>
              <a:gd name="connsiteX3" fmla="*/ 0 w 12432323"/>
              <a:gd name="connsiteY3" fmla="*/ 3171925 h 3171925"/>
              <a:gd name="connsiteX4" fmla="*/ 282042 w 12432323"/>
              <a:gd name="connsiteY4" fmla="*/ 0 h 3171925"/>
              <a:gd name="connsiteX0" fmla="*/ 190669 w 12432323"/>
              <a:gd name="connsiteY0" fmla="*/ 45201 h 2103897"/>
              <a:gd name="connsiteX1" fmla="*/ 12432323 w 12432323"/>
              <a:gd name="connsiteY1" fmla="*/ 0 h 2103897"/>
              <a:gd name="connsiteX2" fmla="*/ 12259342 w 12432323"/>
              <a:gd name="connsiteY2" fmla="*/ 2098853 h 2103897"/>
              <a:gd name="connsiteX3" fmla="*/ 0 w 12432323"/>
              <a:gd name="connsiteY3" fmla="*/ 2103897 h 2103897"/>
              <a:gd name="connsiteX4" fmla="*/ 190669 w 12432323"/>
              <a:gd name="connsiteY4" fmla="*/ 45201 h 2103897"/>
              <a:gd name="connsiteX0" fmla="*/ 190669 w 12259342"/>
              <a:gd name="connsiteY0" fmla="*/ 0 h 2058696"/>
              <a:gd name="connsiteX1" fmla="*/ 12153987 w 12259342"/>
              <a:gd name="connsiteY1" fmla="*/ 1679115 h 2058696"/>
              <a:gd name="connsiteX2" fmla="*/ 12259342 w 12259342"/>
              <a:gd name="connsiteY2" fmla="*/ 2053652 h 2058696"/>
              <a:gd name="connsiteX3" fmla="*/ 0 w 12259342"/>
              <a:gd name="connsiteY3" fmla="*/ 2058696 h 2058696"/>
              <a:gd name="connsiteX4" fmla="*/ 190669 w 12259342"/>
              <a:gd name="connsiteY4" fmla="*/ 0 h 2058696"/>
              <a:gd name="connsiteX0" fmla="*/ 190669 w 12326628"/>
              <a:gd name="connsiteY0" fmla="*/ 0 h 2058696"/>
              <a:gd name="connsiteX1" fmla="*/ 12326628 w 12326628"/>
              <a:gd name="connsiteY1" fmla="*/ 1165535 h 2058696"/>
              <a:gd name="connsiteX2" fmla="*/ 12259342 w 12326628"/>
              <a:gd name="connsiteY2" fmla="*/ 2053652 h 2058696"/>
              <a:gd name="connsiteX3" fmla="*/ 0 w 12326628"/>
              <a:gd name="connsiteY3" fmla="*/ 2058696 h 2058696"/>
              <a:gd name="connsiteX4" fmla="*/ 190669 w 12326628"/>
              <a:gd name="connsiteY4" fmla="*/ 0 h 2058696"/>
              <a:gd name="connsiteX0" fmla="*/ 243200 w 12326628"/>
              <a:gd name="connsiteY0" fmla="*/ 0 h 1728786"/>
              <a:gd name="connsiteX1" fmla="*/ 12326628 w 12326628"/>
              <a:gd name="connsiteY1" fmla="*/ 835625 h 1728786"/>
              <a:gd name="connsiteX2" fmla="*/ 12259342 w 12326628"/>
              <a:gd name="connsiteY2" fmla="*/ 1723742 h 1728786"/>
              <a:gd name="connsiteX3" fmla="*/ 0 w 12326628"/>
              <a:gd name="connsiteY3" fmla="*/ 1728786 h 1728786"/>
              <a:gd name="connsiteX4" fmla="*/ 243200 w 12326628"/>
              <a:gd name="connsiteY4" fmla="*/ 0 h 1728786"/>
              <a:gd name="connsiteX0" fmla="*/ 176851 w 12326628"/>
              <a:gd name="connsiteY0" fmla="*/ 0 h 1966953"/>
              <a:gd name="connsiteX1" fmla="*/ 12326628 w 12326628"/>
              <a:gd name="connsiteY1" fmla="*/ 1073792 h 1966953"/>
              <a:gd name="connsiteX2" fmla="*/ 12259342 w 12326628"/>
              <a:gd name="connsiteY2" fmla="*/ 1961909 h 1966953"/>
              <a:gd name="connsiteX3" fmla="*/ 0 w 12326628"/>
              <a:gd name="connsiteY3" fmla="*/ 1966953 h 1966953"/>
              <a:gd name="connsiteX4" fmla="*/ 176851 w 12326628"/>
              <a:gd name="connsiteY4" fmla="*/ 0 h 1966953"/>
              <a:gd name="connsiteX0" fmla="*/ 149627 w 12299404"/>
              <a:gd name="connsiteY0" fmla="*/ 0 h 1961909"/>
              <a:gd name="connsiteX1" fmla="*/ 12299404 w 12299404"/>
              <a:gd name="connsiteY1" fmla="*/ 1073792 h 1961909"/>
              <a:gd name="connsiteX2" fmla="*/ 12232118 w 12299404"/>
              <a:gd name="connsiteY2" fmla="*/ 1961909 h 1961909"/>
              <a:gd name="connsiteX3" fmla="*/ 0 w 12299404"/>
              <a:gd name="connsiteY3" fmla="*/ 1522010 h 1961909"/>
              <a:gd name="connsiteX4" fmla="*/ 149627 w 12299404"/>
              <a:gd name="connsiteY4" fmla="*/ 0 h 1961909"/>
              <a:gd name="connsiteX0" fmla="*/ 149627 w 12299404"/>
              <a:gd name="connsiteY0" fmla="*/ 0 h 1713997"/>
              <a:gd name="connsiteX1" fmla="*/ 12299404 w 12299404"/>
              <a:gd name="connsiteY1" fmla="*/ 1073792 h 1713997"/>
              <a:gd name="connsiteX2" fmla="*/ 12253761 w 12299404"/>
              <a:gd name="connsiteY2" fmla="*/ 1713997 h 1713997"/>
              <a:gd name="connsiteX3" fmla="*/ 0 w 12299404"/>
              <a:gd name="connsiteY3" fmla="*/ 1522010 h 1713997"/>
              <a:gd name="connsiteX4" fmla="*/ 149627 w 12299404"/>
              <a:gd name="connsiteY4" fmla="*/ 0 h 1713997"/>
              <a:gd name="connsiteX0" fmla="*/ 149627 w 12482975"/>
              <a:gd name="connsiteY0" fmla="*/ 925914 h 2639911"/>
              <a:gd name="connsiteX1" fmla="*/ 12482975 w 12482975"/>
              <a:gd name="connsiteY1" fmla="*/ 0 h 2639911"/>
              <a:gd name="connsiteX2" fmla="*/ 12253761 w 12482975"/>
              <a:gd name="connsiteY2" fmla="*/ 2639911 h 2639911"/>
              <a:gd name="connsiteX3" fmla="*/ 0 w 12482975"/>
              <a:gd name="connsiteY3" fmla="*/ 2447924 h 2639911"/>
              <a:gd name="connsiteX4" fmla="*/ 149627 w 12482975"/>
              <a:gd name="connsiteY4" fmla="*/ 925914 h 2639911"/>
              <a:gd name="connsiteX0" fmla="*/ 328732 w 12482975"/>
              <a:gd name="connsiteY0" fmla="*/ 0 h 3714092"/>
              <a:gd name="connsiteX1" fmla="*/ 12482975 w 12482975"/>
              <a:gd name="connsiteY1" fmla="*/ 1074181 h 3714092"/>
              <a:gd name="connsiteX2" fmla="*/ 12253761 w 12482975"/>
              <a:gd name="connsiteY2" fmla="*/ 3714092 h 3714092"/>
              <a:gd name="connsiteX3" fmla="*/ 0 w 12482975"/>
              <a:gd name="connsiteY3" fmla="*/ 3522105 h 3714092"/>
              <a:gd name="connsiteX4" fmla="*/ 328732 w 12482975"/>
              <a:gd name="connsiteY4" fmla="*/ 0 h 3714092"/>
              <a:gd name="connsiteX0" fmla="*/ 306405 w 12460648"/>
              <a:gd name="connsiteY0" fmla="*/ 0 h 3714092"/>
              <a:gd name="connsiteX1" fmla="*/ 12460648 w 12460648"/>
              <a:gd name="connsiteY1" fmla="*/ 1074181 h 3714092"/>
              <a:gd name="connsiteX2" fmla="*/ 12231434 w 12460648"/>
              <a:gd name="connsiteY2" fmla="*/ 3714092 h 3714092"/>
              <a:gd name="connsiteX3" fmla="*/ 0 w 12460648"/>
              <a:gd name="connsiteY3" fmla="*/ 3524054 h 3714092"/>
              <a:gd name="connsiteX4" fmla="*/ 306405 w 12460648"/>
              <a:gd name="connsiteY4" fmla="*/ 0 h 3714092"/>
              <a:gd name="connsiteX0" fmla="*/ 306405 w 12457796"/>
              <a:gd name="connsiteY0" fmla="*/ 0 h 3714092"/>
              <a:gd name="connsiteX1" fmla="*/ 12457796 w 12457796"/>
              <a:gd name="connsiteY1" fmla="*/ 1048435 h 3714092"/>
              <a:gd name="connsiteX2" fmla="*/ 12231434 w 12457796"/>
              <a:gd name="connsiteY2" fmla="*/ 3714092 h 3714092"/>
              <a:gd name="connsiteX3" fmla="*/ 0 w 12457796"/>
              <a:gd name="connsiteY3" fmla="*/ 3524054 h 3714092"/>
              <a:gd name="connsiteX4" fmla="*/ 306405 w 12457796"/>
              <a:gd name="connsiteY4" fmla="*/ 0 h 37140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57796" h="3714092">
                <a:moveTo>
                  <a:pt x="306405" y="0"/>
                </a:moveTo>
                <a:lnTo>
                  <a:pt x="12457796" y="1048435"/>
                </a:lnTo>
                <a:lnTo>
                  <a:pt x="12231434" y="3714092"/>
                </a:lnTo>
                <a:lnTo>
                  <a:pt x="0" y="3524054"/>
                </a:lnTo>
                <a:lnTo>
                  <a:pt x="306405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8806FD4-6140-4662-8DE6-047069B86B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4427760"/>
            <a:ext cx="11453324" cy="432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86B22E73-E72E-4893-A4FA-35D88A51B5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0" y="4963932"/>
            <a:ext cx="11451735" cy="1184868"/>
          </a:xfr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830804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relevant figur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71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8435975" y="0"/>
            <a:ext cx="3756025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EBCB333-58BB-B544-BBAA-8ED40584E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2080" y="1396800"/>
            <a:ext cx="2463133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0" name="Marcador de texto 5">
            <a:extLst>
              <a:ext uri="{FF2B5EF4-FFF2-40B4-BE49-F238E27FC236}">
                <a16:creationId xmlns:a16="http://schemas.microsoft.com/office/drawing/2014/main" id="{2C06ACCB-354C-3D41-AB30-002D49D29C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22080" y="3106608"/>
            <a:ext cx="2463133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2" name="Marcador de texto 5">
            <a:extLst>
              <a:ext uri="{FF2B5EF4-FFF2-40B4-BE49-F238E27FC236}">
                <a16:creationId xmlns:a16="http://schemas.microsoft.com/office/drawing/2014/main" id="{55898699-B5C9-1042-AB4E-4107C11BB4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22080" y="4821943"/>
            <a:ext cx="2463133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8D5A004-570A-094C-B900-71EF2C9421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022080" y="2222453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777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1" y="1396800"/>
            <a:ext cx="7419484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777600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CC029E2A-DFFC-4B75-B6F0-0C25FC762DE1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EE3E05-632C-4DDC-A133-15B8F2C0C3F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ADC65A8-BDC8-44D6-801E-0FD122A63B95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771523B-DF2A-41A4-B819-C4FC3788E2AD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57AB59D-D91E-4CC8-B445-EF92BA8BFA59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" name="Marcador de texto 3">
            <a:extLst>
              <a:ext uri="{FF2B5EF4-FFF2-40B4-BE49-F238E27FC236}">
                <a16:creationId xmlns:a16="http://schemas.microsoft.com/office/drawing/2014/main" id="{05702D13-A071-4F50-ABE0-38DA1972E0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2080" y="2432899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EA3DA224-356F-40D5-8E34-0E77F638B03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28485" y="3950669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8" name="Marcador de texto 3">
            <a:extLst>
              <a:ext uri="{FF2B5EF4-FFF2-40B4-BE49-F238E27FC236}">
                <a16:creationId xmlns:a16="http://schemas.microsoft.com/office/drawing/2014/main" id="{2C295525-373B-4608-BC46-0F238113467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28485" y="4161115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9" name="Marcador de texto 3">
            <a:extLst>
              <a:ext uri="{FF2B5EF4-FFF2-40B4-BE49-F238E27FC236}">
                <a16:creationId xmlns:a16="http://schemas.microsoft.com/office/drawing/2014/main" id="{0034B3ED-D51C-4ACC-8EBF-1DB7F1109E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2080" y="5649955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0" name="Marcador de texto 3">
            <a:extLst>
              <a:ext uri="{FF2B5EF4-FFF2-40B4-BE49-F238E27FC236}">
                <a16:creationId xmlns:a16="http://schemas.microsoft.com/office/drawing/2014/main" id="{AE6FCF19-BEA9-4AB0-B7C0-A66022594C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22080" y="5860401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72295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xt + relevant figur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2287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8435975" y="0"/>
            <a:ext cx="3756025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777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1" y="1396800"/>
            <a:ext cx="7776000" cy="2032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777600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CC029E2A-DFFC-4B75-B6F0-0C25FC762DE1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EE3E05-632C-4DDC-A133-15B8F2C0C3F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ADC65A8-BDC8-44D6-801E-0FD122A63B95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771523B-DF2A-41A4-B819-C4FC3788E2AD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57AB59D-D91E-4CC8-B445-EF92BA8BFA59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ECB5D42B-91CA-4DF6-9247-6B6F309CF2A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7738" y="3675188"/>
            <a:ext cx="7191982" cy="391735"/>
          </a:xfrm>
        </p:spPr>
        <p:txBody>
          <a:bodyPr/>
          <a:lstStyle>
            <a:lvl1pPr>
              <a:defRPr sz="1400" b="1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9FD71E6E-C40C-42AF-8E9E-C4057E7B246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51219" y="4066923"/>
            <a:ext cx="7191982" cy="39173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E7510748-ED89-4AD4-8CD8-7AE88E3E158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44257" y="4873597"/>
            <a:ext cx="7191982" cy="391735"/>
          </a:xfrm>
        </p:spPr>
        <p:txBody>
          <a:bodyPr/>
          <a:lstStyle>
            <a:lvl1pPr>
              <a:defRPr sz="1400" b="1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78FA4CBB-F653-4F35-A0FE-63CA52A64E6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47738" y="5265332"/>
            <a:ext cx="7191982" cy="39173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Marcador de texto 5">
            <a:extLst>
              <a:ext uri="{FF2B5EF4-FFF2-40B4-BE49-F238E27FC236}">
                <a16:creationId xmlns:a16="http://schemas.microsoft.com/office/drawing/2014/main" id="{9EB1534E-8424-48C3-BCAC-551420C5EF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22080" y="1396800"/>
            <a:ext cx="2796437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6" name="Marcador de texto 5">
            <a:extLst>
              <a:ext uri="{FF2B5EF4-FFF2-40B4-BE49-F238E27FC236}">
                <a16:creationId xmlns:a16="http://schemas.microsoft.com/office/drawing/2014/main" id="{5F1AB385-62E0-4674-B6B2-33A01B9480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022080" y="3106608"/>
            <a:ext cx="2796437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7" name="Marcador de texto 5">
            <a:extLst>
              <a:ext uri="{FF2B5EF4-FFF2-40B4-BE49-F238E27FC236}">
                <a16:creationId xmlns:a16="http://schemas.microsoft.com/office/drawing/2014/main" id="{74452DD6-3DC8-4D03-8BD6-83360EBE24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22080" y="4821943"/>
            <a:ext cx="2796437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8" name="Marcador de texto 3">
            <a:extLst>
              <a:ext uri="{FF2B5EF4-FFF2-40B4-BE49-F238E27FC236}">
                <a16:creationId xmlns:a16="http://schemas.microsoft.com/office/drawing/2014/main" id="{396E7DEA-FAB4-4CBE-9413-B4A74422A5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022080" y="2222453"/>
            <a:ext cx="279709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9" name="Marcador de texto 3">
            <a:extLst>
              <a:ext uri="{FF2B5EF4-FFF2-40B4-BE49-F238E27FC236}">
                <a16:creationId xmlns:a16="http://schemas.microsoft.com/office/drawing/2014/main" id="{90F182E4-C1F5-4D77-B4DF-314FA4E258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2080" y="2432899"/>
            <a:ext cx="279709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40" name="Marcador de texto 3">
            <a:extLst>
              <a:ext uri="{FF2B5EF4-FFF2-40B4-BE49-F238E27FC236}">
                <a16:creationId xmlns:a16="http://schemas.microsoft.com/office/drawing/2014/main" id="{C4D7E3CF-146E-4368-9282-6FAD90E9376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28485" y="3950669"/>
            <a:ext cx="279709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41" name="Marcador de texto 3">
            <a:extLst>
              <a:ext uri="{FF2B5EF4-FFF2-40B4-BE49-F238E27FC236}">
                <a16:creationId xmlns:a16="http://schemas.microsoft.com/office/drawing/2014/main" id="{9610E829-B8CA-4DA7-B46F-E447BA736B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28485" y="4161115"/>
            <a:ext cx="279709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42" name="Marcador de texto 3">
            <a:extLst>
              <a:ext uri="{FF2B5EF4-FFF2-40B4-BE49-F238E27FC236}">
                <a16:creationId xmlns:a16="http://schemas.microsoft.com/office/drawing/2014/main" id="{462A73AB-EA0E-4722-AB67-B222856370C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2080" y="5649955"/>
            <a:ext cx="279709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43" name="Marcador de texto 3">
            <a:extLst>
              <a:ext uri="{FF2B5EF4-FFF2-40B4-BE49-F238E27FC236}">
                <a16:creationId xmlns:a16="http://schemas.microsoft.com/office/drawing/2014/main" id="{A2170E1B-D1D1-4D8E-AAE6-4983D7717D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22080" y="5860401"/>
            <a:ext cx="279709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88793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+ relevant figures+imag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095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8924081" y="0"/>
            <a:ext cx="326791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5339118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1" y="1396800"/>
            <a:ext cx="4034934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5339118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E88ABC6-3508-45D7-B3BD-99157607BE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0" y="0"/>
            <a:ext cx="2828081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641D11C-CBE0-4C96-8F91-252D57DF7C92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8156CB0-9D69-43CE-B7B0-9F4B78620B86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91CF80F-482B-4022-B12D-6F9ADD5A68C5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25CC24E-0835-44F9-ACF1-7E797D9C6D17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1" name="Marcador de texto 5">
            <a:extLst>
              <a:ext uri="{FF2B5EF4-FFF2-40B4-BE49-F238E27FC236}">
                <a16:creationId xmlns:a16="http://schemas.microsoft.com/office/drawing/2014/main" id="{CC13A89A-9C94-48C4-909B-7D8AF821C8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04430" y="1396800"/>
            <a:ext cx="2414087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2" name="Marcador de texto 5">
            <a:extLst>
              <a:ext uri="{FF2B5EF4-FFF2-40B4-BE49-F238E27FC236}">
                <a16:creationId xmlns:a16="http://schemas.microsoft.com/office/drawing/2014/main" id="{02D9886C-AAD0-4166-8556-B335B094E7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04430" y="3106608"/>
            <a:ext cx="2414087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3" name="Marcador de texto 5">
            <a:extLst>
              <a:ext uri="{FF2B5EF4-FFF2-40B4-BE49-F238E27FC236}">
                <a16:creationId xmlns:a16="http://schemas.microsoft.com/office/drawing/2014/main" id="{BBAF1C79-1CDD-45DB-B02E-C29874F2A3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04430" y="4821943"/>
            <a:ext cx="2414087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4" name="Marcador de texto 3">
            <a:extLst>
              <a:ext uri="{FF2B5EF4-FFF2-40B4-BE49-F238E27FC236}">
                <a16:creationId xmlns:a16="http://schemas.microsoft.com/office/drawing/2014/main" id="{DCEA6A05-FE73-4A04-9BFD-EFBEEF3B9CF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04520" y="2222453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5" name="Marcador de texto 3">
            <a:extLst>
              <a:ext uri="{FF2B5EF4-FFF2-40B4-BE49-F238E27FC236}">
                <a16:creationId xmlns:a16="http://schemas.microsoft.com/office/drawing/2014/main" id="{33682074-3FEF-416B-BBDE-94E6E2F9C7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04520" y="2432899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6" name="Marcador de texto 3">
            <a:extLst>
              <a:ext uri="{FF2B5EF4-FFF2-40B4-BE49-F238E27FC236}">
                <a16:creationId xmlns:a16="http://schemas.microsoft.com/office/drawing/2014/main" id="{3009B9B7-55E7-4B0C-8255-FC29ABF8AFE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0925" y="3950669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7" name="Marcador de texto 3">
            <a:extLst>
              <a:ext uri="{FF2B5EF4-FFF2-40B4-BE49-F238E27FC236}">
                <a16:creationId xmlns:a16="http://schemas.microsoft.com/office/drawing/2014/main" id="{B959AFC2-8996-4919-A682-2747AF44EC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10925" y="4161115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8" name="Marcador de texto 3">
            <a:extLst>
              <a:ext uri="{FF2B5EF4-FFF2-40B4-BE49-F238E27FC236}">
                <a16:creationId xmlns:a16="http://schemas.microsoft.com/office/drawing/2014/main" id="{6B08A81F-C034-400F-9B5F-354604C30A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4520" y="5649955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9" name="Marcador de texto 3">
            <a:extLst>
              <a:ext uri="{FF2B5EF4-FFF2-40B4-BE49-F238E27FC236}">
                <a16:creationId xmlns:a16="http://schemas.microsoft.com/office/drawing/2014/main" id="{09AB3247-9F91-44C8-A332-75F6B280639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04520" y="5860401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66107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CDBA13D-FCA5-4989-91E5-44E3413182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647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CDBA13D-FCA5-4989-91E5-44E3413182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D4D7FA-7248-4529-B53C-62A15C74CE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6" name="Marcador de texto 2">
            <a:extLst>
              <a:ext uri="{FF2B5EF4-FFF2-40B4-BE49-F238E27FC236}">
                <a16:creationId xmlns:a16="http://schemas.microsoft.com/office/drawing/2014/main" id="{9ECC12FF-66F9-5342-A608-D96A0F40994B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437299-17E5-4499-8DF6-B32E17F3F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41265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xt + relevant figures+imag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8519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6547911" y="-5081"/>
            <a:ext cx="5669541" cy="6872077"/>
          </a:xfrm>
          <a:custGeom>
            <a:avLst/>
            <a:gdLst>
              <a:gd name="connsiteX0" fmla="*/ 0 w 3267919"/>
              <a:gd name="connsiteY0" fmla="*/ 0 h 6858000"/>
              <a:gd name="connsiteX1" fmla="*/ 3267919 w 3267919"/>
              <a:gd name="connsiteY1" fmla="*/ 0 h 6858000"/>
              <a:gd name="connsiteX2" fmla="*/ 3267919 w 3267919"/>
              <a:gd name="connsiteY2" fmla="*/ 6858000 h 6858000"/>
              <a:gd name="connsiteX3" fmla="*/ 0 w 3267919"/>
              <a:gd name="connsiteY3" fmla="*/ 6858000 h 6858000"/>
              <a:gd name="connsiteX4" fmla="*/ 0 w 3267919"/>
              <a:gd name="connsiteY4" fmla="*/ 0 h 6858000"/>
              <a:gd name="connsiteX0" fmla="*/ 2835797 w 6103716"/>
              <a:gd name="connsiteY0" fmla="*/ 0 h 6858000"/>
              <a:gd name="connsiteX1" fmla="*/ 6103716 w 6103716"/>
              <a:gd name="connsiteY1" fmla="*/ 0 h 6858000"/>
              <a:gd name="connsiteX2" fmla="*/ 6103716 w 6103716"/>
              <a:gd name="connsiteY2" fmla="*/ 6858000 h 6858000"/>
              <a:gd name="connsiteX3" fmla="*/ 0 w 6103716"/>
              <a:gd name="connsiteY3" fmla="*/ 6858000 h 6858000"/>
              <a:gd name="connsiteX4" fmla="*/ 2835797 w 6103716"/>
              <a:gd name="connsiteY4" fmla="*/ 0 h 6858000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6103716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7232248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6983416"/>
              <a:gd name="connsiteY0" fmla="*/ 0 h 6863788"/>
              <a:gd name="connsiteX1" fmla="*/ 5148805 w 6983416"/>
              <a:gd name="connsiteY1" fmla="*/ 0 h 6863788"/>
              <a:gd name="connsiteX2" fmla="*/ 6983392 w 6983416"/>
              <a:gd name="connsiteY2" fmla="*/ 6858000 h 6863788"/>
              <a:gd name="connsiteX3" fmla="*/ 0 w 6983416"/>
              <a:gd name="connsiteY3" fmla="*/ 6863788 h 6863788"/>
              <a:gd name="connsiteX4" fmla="*/ 2586941 w 6983416"/>
              <a:gd name="connsiteY4" fmla="*/ 0 h 6863788"/>
              <a:gd name="connsiteX0" fmla="*/ 2586941 w 6983421"/>
              <a:gd name="connsiteY0" fmla="*/ 0 h 6863788"/>
              <a:gd name="connsiteX1" fmla="*/ 5513407 w 6983421"/>
              <a:gd name="connsiteY1" fmla="*/ 0 h 6863788"/>
              <a:gd name="connsiteX2" fmla="*/ 6983392 w 6983421"/>
              <a:gd name="connsiteY2" fmla="*/ 6858000 h 6863788"/>
              <a:gd name="connsiteX3" fmla="*/ 0 w 6983421"/>
              <a:gd name="connsiteY3" fmla="*/ 6863788 h 6863788"/>
              <a:gd name="connsiteX4" fmla="*/ 2586941 w 6983421"/>
              <a:gd name="connsiteY4" fmla="*/ 0 h 6863788"/>
              <a:gd name="connsiteX0" fmla="*/ 2586941 w 5513407"/>
              <a:gd name="connsiteY0" fmla="*/ 0 h 6869575"/>
              <a:gd name="connsiteX1" fmla="*/ 5513407 w 5513407"/>
              <a:gd name="connsiteY1" fmla="*/ 0 h 6869575"/>
              <a:gd name="connsiteX2" fmla="*/ 5183529 w 5513407"/>
              <a:gd name="connsiteY2" fmla="*/ 6869575 h 6869575"/>
              <a:gd name="connsiteX3" fmla="*/ 0 w 5513407"/>
              <a:gd name="connsiteY3" fmla="*/ 6863788 h 6869575"/>
              <a:gd name="connsiteX4" fmla="*/ 2586941 w 5513407"/>
              <a:gd name="connsiteY4" fmla="*/ 0 h 6869575"/>
              <a:gd name="connsiteX0" fmla="*/ 2586941 w 5513407"/>
              <a:gd name="connsiteY0" fmla="*/ 0 h 6863788"/>
              <a:gd name="connsiteX1" fmla="*/ 5513407 w 5513407"/>
              <a:gd name="connsiteY1" fmla="*/ 0 h 6863788"/>
              <a:gd name="connsiteX2" fmla="*/ 5496045 w 5513407"/>
              <a:gd name="connsiteY2" fmla="*/ 6829064 h 6863788"/>
              <a:gd name="connsiteX3" fmla="*/ 0 w 5513407"/>
              <a:gd name="connsiteY3" fmla="*/ 6863788 h 6863788"/>
              <a:gd name="connsiteX4" fmla="*/ 2586941 w 5513407"/>
              <a:gd name="connsiteY4" fmla="*/ 0 h 6863788"/>
              <a:gd name="connsiteX0" fmla="*/ 2586941 w 5520913"/>
              <a:gd name="connsiteY0" fmla="*/ 0 h 6863788"/>
              <a:gd name="connsiteX1" fmla="*/ 5513407 w 5520913"/>
              <a:gd name="connsiteY1" fmla="*/ 0 h 6863788"/>
              <a:gd name="connsiteX2" fmla="*/ 5519195 w 5520913"/>
              <a:gd name="connsiteY2" fmla="*/ 6840638 h 6863788"/>
              <a:gd name="connsiteX3" fmla="*/ 0 w 5520913"/>
              <a:gd name="connsiteY3" fmla="*/ 6863788 h 6863788"/>
              <a:gd name="connsiteX4" fmla="*/ 2586941 w 5520913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52723 w 5509031"/>
              <a:gd name="connsiteY0" fmla="*/ 0 h 6852213"/>
              <a:gd name="connsiteX1" fmla="*/ 5479189 w 5509031"/>
              <a:gd name="connsiteY1" fmla="*/ 0 h 6852213"/>
              <a:gd name="connsiteX2" fmla="*/ 5508126 w 5509031"/>
              <a:gd name="connsiteY2" fmla="*/ 6852213 h 6852213"/>
              <a:gd name="connsiteX3" fmla="*/ 0 w 5509031"/>
              <a:gd name="connsiteY3" fmla="*/ 6789649 h 6852213"/>
              <a:gd name="connsiteX4" fmla="*/ 2552723 w 5509031"/>
              <a:gd name="connsiteY4" fmla="*/ 0 h 6852213"/>
              <a:gd name="connsiteX0" fmla="*/ 2552723 w 5494413"/>
              <a:gd name="connsiteY0" fmla="*/ 0 h 6789649"/>
              <a:gd name="connsiteX1" fmla="*/ 5479189 w 5494413"/>
              <a:gd name="connsiteY1" fmla="*/ 0 h 6789649"/>
              <a:gd name="connsiteX2" fmla="*/ 5493109 w 5494413"/>
              <a:gd name="connsiteY2" fmla="*/ 6606924 h 6789649"/>
              <a:gd name="connsiteX3" fmla="*/ 0 w 5494413"/>
              <a:gd name="connsiteY3" fmla="*/ 6789649 h 6789649"/>
              <a:gd name="connsiteX4" fmla="*/ 2552723 w 5494413"/>
              <a:gd name="connsiteY4" fmla="*/ 0 h 6789649"/>
              <a:gd name="connsiteX0" fmla="*/ 2552723 w 5479189"/>
              <a:gd name="connsiteY0" fmla="*/ 0 h 6789649"/>
              <a:gd name="connsiteX1" fmla="*/ 5479189 w 5479189"/>
              <a:gd name="connsiteY1" fmla="*/ 0 h 6789649"/>
              <a:gd name="connsiteX2" fmla="*/ 5433038 w 5479189"/>
              <a:gd name="connsiteY2" fmla="*/ 6757102 h 6789649"/>
              <a:gd name="connsiteX3" fmla="*/ 0 w 5479189"/>
              <a:gd name="connsiteY3" fmla="*/ 6789649 h 6789649"/>
              <a:gd name="connsiteX4" fmla="*/ 2552723 w 5479189"/>
              <a:gd name="connsiteY4" fmla="*/ 0 h 6789649"/>
              <a:gd name="connsiteX0" fmla="*/ 2552723 w 6003412"/>
              <a:gd name="connsiteY0" fmla="*/ 0 h 6789649"/>
              <a:gd name="connsiteX1" fmla="*/ 5479189 w 6003412"/>
              <a:gd name="connsiteY1" fmla="*/ 0 h 6789649"/>
              <a:gd name="connsiteX2" fmla="*/ 6003331 w 6003412"/>
              <a:gd name="connsiteY2" fmla="*/ 6762805 h 6789649"/>
              <a:gd name="connsiteX3" fmla="*/ 0 w 6003412"/>
              <a:gd name="connsiteY3" fmla="*/ 6789649 h 6789649"/>
              <a:gd name="connsiteX4" fmla="*/ 2552723 w 6003412"/>
              <a:gd name="connsiteY4" fmla="*/ 0 h 6789649"/>
              <a:gd name="connsiteX0" fmla="*/ 2564128 w 6014817"/>
              <a:gd name="connsiteY0" fmla="*/ 0 h 6766838"/>
              <a:gd name="connsiteX1" fmla="*/ 5490594 w 6014817"/>
              <a:gd name="connsiteY1" fmla="*/ 0 h 6766838"/>
              <a:gd name="connsiteX2" fmla="*/ 6014736 w 6014817"/>
              <a:gd name="connsiteY2" fmla="*/ 6762805 h 6766838"/>
              <a:gd name="connsiteX3" fmla="*/ 0 w 6014817"/>
              <a:gd name="connsiteY3" fmla="*/ 6766838 h 6766838"/>
              <a:gd name="connsiteX4" fmla="*/ 2564128 w 6014817"/>
              <a:gd name="connsiteY4" fmla="*/ 0 h 6766838"/>
              <a:gd name="connsiteX0" fmla="*/ 2564128 w 6020966"/>
              <a:gd name="connsiteY0" fmla="*/ 0 h 6766838"/>
              <a:gd name="connsiteX1" fmla="*/ 6020966 w 6020966"/>
              <a:gd name="connsiteY1" fmla="*/ 0 h 6766838"/>
              <a:gd name="connsiteX2" fmla="*/ 6014736 w 6020966"/>
              <a:gd name="connsiteY2" fmla="*/ 6762805 h 6766838"/>
              <a:gd name="connsiteX3" fmla="*/ 0 w 6020966"/>
              <a:gd name="connsiteY3" fmla="*/ 6766838 h 6766838"/>
              <a:gd name="connsiteX4" fmla="*/ 2564128 w 6020966"/>
              <a:gd name="connsiteY4" fmla="*/ 0 h 6766838"/>
              <a:gd name="connsiteX0" fmla="*/ 2564128 w 6022729"/>
              <a:gd name="connsiteY0" fmla="*/ 0 h 6766838"/>
              <a:gd name="connsiteX1" fmla="*/ 6020966 w 6022729"/>
              <a:gd name="connsiteY1" fmla="*/ 0 h 6766838"/>
              <a:gd name="connsiteX2" fmla="*/ 6020440 w 6022729"/>
              <a:gd name="connsiteY2" fmla="*/ 6757103 h 6766838"/>
              <a:gd name="connsiteX3" fmla="*/ 0 w 6022729"/>
              <a:gd name="connsiteY3" fmla="*/ 6766838 h 6766838"/>
              <a:gd name="connsiteX4" fmla="*/ 2564128 w 6022729"/>
              <a:gd name="connsiteY4" fmla="*/ 0 h 6766838"/>
              <a:gd name="connsiteX0" fmla="*/ 2564128 w 6020537"/>
              <a:gd name="connsiteY0" fmla="*/ 0 h 6766838"/>
              <a:gd name="connsiteX1" fmla="*/ 5581840 w 6020537"/>
              <a:gd name="connsiteY1" fmla="*/ 0 h 6766838"/>
              <a:gd name="connsiteX2" fmla="*/ 6020440 w 6020537"/>
              <a:gd name="connsiteY2" fmla="*/ 6757103 h 6766838"/>
              <a:gd name="connsiteX3" fmla="*/ 0 w 6020537"/>
              <a:gd name="connsiteY3" fmla="*/ 6766838 h 6766838"/>
              <a:gd name="connsiteX4" fmla="*/ 2564128 w 6020537"/>
              <a:gd name="connsiteY4" fmla="*/ 0 h 6766838"/>
              <a:gd name="connsiteX0" fmla="*/ 2564128 w 5581840"/>
              <a:gd name="connsiteY0" fmla="*/ 0 h 6768508"/>
              <a:gd name="connsiteX1" fmla="*/ 5581840 w 5581840"/>
              <a:gd name="connsiteY1" fmla="*/ 0 h 6768508"/>
              <a:gd name="connsiteX2" fmla="*/ 5147893 w 5581840"/>
              <a:gd name="connsiteY2" fmla="*/ 6768508 h 6768508"/>
              <a:gd name="connsiteX3" fmla="*/ 0 w 5581840"/>
              <a:gd name="connsiteY3" fmla="*/ 6766838 h 6768508"/>
              <a:gd name="connsiteX4" fmla="*/ 2564128 w 5581840"/>
              <a:gd name="connsiteY4" fmla="*/ 0 h 6768508"/>
              <a:gd name="connsiteX0" fmla="*/ 2564128 w 5581840"/>
              <a:gd name="connsiteY0" fmla="*/ 0 h 6766838"/>
              <a:gd name="connsiteX1" fmla="*/ 5581840 w 5581840"/>
              <a:gd name="connsiteY1" fmla="*/ 0 h 6766838"/>
              <a:gd name="connsiteX2" fmla="*/ 5569910 w 5581840"/>
              <a:gd name="connsiteY2" fmla="*/ 6757103 h 6766838"/>
              <a:gd name="connsiteX3" fmla="*/ 0 w 5581840"/>
              <a:gd name="connsiteY3" fmla="*/ 6766838 h 6766838"/>
              <a:gd name="connsiteX4" fmla="*/ 2564128 w 5581840"/>
              <a:gd name="connsiteY4" fmla="*/ 0 h 6766838"/>
              <a:gd name="connsiteX0" fmla="*/ 2564128 w 5586846"/>
              <a:gd name="connsiteY0" fmla="*/ 5006 h 6771844"/>
              <a:gd name="connsiteX1" fmla="*/ 5586846 w 5586846"/>
              <a:gd name="connsiteY1" fmla="*/ 0 h 6771844"/>
              <a:gd name="connsiteX2" fmla="*/ 5569910 w 5586846"/>
              <a:gd name="connsiteY2" fmla="*/ 6762109 h 6771844"/>
              <a:gd name="connsiteX3" fmla="*/ 0 w 5586846"/>
              <a:gd name="connsiteY3" fmla="*/ 6771844 h 6771844"/>
              <a:gd name="connsiteX4" fmla="*/ 2564128 w 5586846"/>
              <a:gd name="connsiteY4" fmla="*/ 5006 h 6771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86846" h="6771844">
                <a:moveTo>
                  <a:pt x="2564128" y="5006"/>
                </a:moveTo>
                <a:lnTo>
                  <a:pt x="5586846" y="0"/>
                </a:lnTo>
                <a:cubicBezTo>
                  <a:pt x="5579130" y="2287929"/>
                  <a:pt x="5577626" y="4474180"/>
                  <a:pt x="5569910" y="6762109"/>
                </a:cubicBezTo>
                <a:lnTo>
                  <a:pt x="0" y="6771844"/>
                </a:lnTo>
                <a:lnTo>
                  <a:pt x="2564128" y="5006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5339118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1" y="1396800"/>
            <a:ext cx="5736368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5339118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B757EFA4-9CA7-4971-930F-9A211DFD8C84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5E15839-E41E-4EDF-8BBC-E860E59953A6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C5E13AA-8E9B-4754-89F8-7BB4FEA969D7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2A25B90-3501-4354-8001-D9BB6C0DD482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3" name="Marcador de texto 5">
            <a:extLst>
              <a:ext uri="{FF2B5EF4-FFF2-40B4-BE49-F238E27FC236}">
                <a16:creationId xmlns:a16="http://schemas.microsoft.com/office/drawing/2014/main" id="{734CF444-F455-41CC-A4F0-0119B7CCF2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04430" y="1396800"/>
            <a:ext cx="2414087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4" name="Marcador de texto 5">
            <a:extLst>
              <a:ext uri="{FF2B5EF4-FFF2-40B4-BE49-F238E27FC236}">
                <a16:creationId xmlns:a16="http://schemas.microsoft.com/office/drawing/2014/main" id="{F9743225-97B5-4C1C-ABED-2A4A6D0271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04430" y="3106608"/>
            <a:ext cx="2414087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5" name="Marcador de texto 5">
            <a:extLst>
              <a:ext uri="{FF2B5EF4-FFF2-40B4-BE49-F238E27FC236}">
                <a16:creationId xmlns:a16="http://schemas.microsoft.com/office/drawing/2014/main" id="{DC8F35E4-28B6-4F72-9C7F-98AF5BE601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04430" y="4821943"/>
            <a:ext cx="2414087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6" name="Marcador de texto 3">
            <a:extLst>
              <a:ext uri="{FF2B5EF4-FFF2-40B4-BE49-F238E27FC236}">
                <a16:creationId xmlns:a16="http://schemas.microsoft.com/office/drawing/2014/main" id="{CF3B3251-335E-446C-B6FC-00CA9E17D9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04520" y="2222453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7" name="Marcador de texto 3">
            <a:extLst>
              <a:ext uri="{FF2B5EF4-FFF2-40B4-BE49-F238E27FC236}">
                <a16:creationId xmlns:a16="http://schemas.microsoft.com/office/drawing/2014/main" id="{C98A5DB2-9900-475B-8AFD-F29E0FB3D0D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04520" y="2432899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8" name="Marcador de texto 3">
            <a:extLst>
              <a:ext uri="{FF2B5EF4-FFF2-40B4-BE49-F238E27FC236}">
                <a16:creationId xmlns:a16="http://schemas.microsoft.com/office/drawing/2014/main" id="{D3EA224C-0C6A-4296-A78D-2E87829688A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0925" y="3950669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9" name="Marcador de texto 3">
            <a:extLst>
              <a:ext uri="{FF2B5EF4-FFF2-40B4-BE49-F238E27FC236}">
                <a16:creationId xmlns:a16="http://schemas.microsoft.com/office/drawing/2014/main" id="{0AFD99CE-1675-4229-93E5-311A23A458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10925" y="4161115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40" name="Marcador de texto 3">
            <a:extLst>
              <a:ext uri="{FF2B5EF4-FFF2-40B4-BE49-F238E27FC236}">
                <a16:creationId xmlns:a16="http://schemas.microsoft.com/office/drawing/2014/main" id="{3E8CC5A2-CF31-4CDC-A337-EB78D067E06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4520" y="5649955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41" name="Marcador de texto 3">
            <a:extLst>
              <a:ext uri="{FF2B5EF4-FFF2-40B4-BE49-F238E27FC236}">
                <a16:creationId xmlns:a16="http://schemas.microsoft.com/office/drawing/2014/main" id="{D13919C7-BD45-4225-A535-74C704EA767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04520" y="5860401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246051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ext + relevant figures+imag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2377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5339118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0" y="1396800"/>
            <a:ext cx="5727209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5339118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7" name="Marcador de posición de imagen 2">
            <a:extLst>
              <a:ext uri="{FF2B5EF4-FFF2-40B4-BE49-F238E27FC236}">
                <a16:creationId xmlns:a16="http://schemas.microsoft.com/office/drawing/2014/main" id="{818A30A8-0AD4-4579-B422-E8F2A10F4AF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538529" y="-14050"/>
            <a:ext cx="5670915" cy="6877222"/>
          </a:xfrm>
          <a:custGeom>
            <a:avLst/>
            <a:gdLst>
              <a:gd name="connsiteX0" fmla="*/ 0 w 4592124"/>
              <a:gd name="connsiteY0" fmla="*/ 0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0 w 4592124"/>
              <a:gd name="connsiteY4" fmla="*/ 0 h 6858000"/>
              <a:gd name="connsiteX0" fmla="*/ 2549525 w 4592124"/>
              <a:gd name="connsiteY0" fmla="*/ 1058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2549525 w 4592124"/>
              <a:gd name="connsiteY4" fmla="*/ 1058 h 6858000"/>
              <a:gd name="connsiteX0" fmla="*/ 2549525 w 4592124"/>
              <a:gd name="connsiteY0" fmla="*/ 0 h 6856942"/>
              <a:gd name="connsiteX1" fmla="*/ 4592124 w 4592124"/>
              <a:gd name="connsiteY1" fmla="*/ 1371762 h 6856942"/>
              <a:gd name="connsiteX2" fmla="*/ 4592124 w 4592124"/>
              <a:gd name="connsiteY2" fmla="*/ 6856942 h 6856942"/>
              <a:gd name="connsiteX3" fmla="*/ 0 w 4592124"/>
              <a:gd name="connsiteY3" fmla="*/ 6856942 h 6856942"/>
              <a:gd name="connsiteX4" fmla="*/ 2549525 w 4592124"/>
              <a:gd name="connsiteY4" fmla="*/ 0 h 6856942"/>
              <a:gd name="connsiteX0" fmla="*/ 2045812 w 4592124"/>
              <a:gd name="connsiteY0" fmla="*/ 1058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45812 w 4592124"/>
              <a:gd name="connsiteY4" fmla="*/ 1058 h 5485180"/>
              <a:gd name="connsiteX0" fmla="*/ 2028628 w 4592124"/>
              <a:gd name="connsiteY0" fmla="*/ 36027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28628 w 4592124"/>
              <a:gd name="connsiteY4" fmla="*/ 36027 h 5485180"/>
              <a:gd name="connsiteX0" fmla="*/ 2028628 w 4592124"/>
              <a:gd name="connsiteY0" fmla="*/ 4509 h 5453662"/>
              <a:gd name="connsiteX1" fmla="*/ 4568296 w 4592124"/>
              <a:gd name="connsiteY1" fmla="*/ 0 h 5453662"/>
              <a:gd name="connsiteX2" fmla="*/ 4592124 w 4592124"/>
              <a:gd name="connsiteY2" fmla="*/ 5453662 h 5453662"/>
              <a:gd name="connsiteX3" fmla="*/ 0 w 4592124"/>
              <a:gd name="connsiteY3" fmla="*/ 5453662 h 5453662"/>
              <a:gd name="connsiteX4" fmla="*/ 2028628 w 4592124"/>
              <a:gd name="connsiteY4" fmla="*/ 4509 h 5453662"/>
              <a:gd name="connsiteX0" fmla="*/ 2028628 w 4743341"/>
              <a:gd name="connsiteY0" fmla="*/ 4509 h 5460656"/>
              <a:gd name="connsiteX1" fmla="*/ 4568296 w 4743341"/>
              <a:gd name="connsiteY1" fmla="*/ 0 h 5460656"/>
              <a:gd name="connsiteX2" fmla="*/ 4743341 w 4743341"/>
              <a:gd name="connsiteY2" fmla="*/ 5460656 h 5460656"/>
              <a:gd name="connsiteX3" fmla="*/ 0 w 4743341"/>
              <a:gd name="connsiteY3" fmla="*/ 5453662 h 5460656"/>
              <a:gd name="connsiteX4" fmla="*/ 2028628 w 4743341"/>
              <a:gd name="connsiteY4" fmla="*/ 4509 h 5460656"/>
              <a:gd name="connsiteX0" fmla="*/ 2028628 w 4760755"/>
              <a:gd name="connsiteY0" fmla="*/ 4509 h 5460656"/>
              <a:gd name="connsiteX1" fmla="*/ 4760755 w 4760755"/>
              <a:gd name="connsiteY1" fmla="*/ 0 h 5460656"/>
              <a:gd name="connsiteX2" fmla="*/ 4743341 w 4760755"/>
              <a:gd name="connsiteY2" fmla="*/ 5460656 h 5460656"/>
              <a:gd name="connsiteX3" fmla="*/ 0 w 4760755"/>
              <a:gd name="connsiteY3" fmla="*/ 5453662 h 5460656"/>
              <a:gd name="connsiteX4" fmla="*/ 2028628 w 4760755"/>
              <a:gd name="connsiteY4" fmla="*/ 4509 h 5460656"/>
              <a:gd name="connsiteX0" fmla="*/ 2042201 w 4774328"/>
              <a:gd name="connsiteY0" fmla="*/ 4509 h 5467473"/>
              <a:gd name="connsiteX1" fmla="*/ 4774328 w 4774328"/>
              <a:gd name="connsiteY1" fmla="*/ 0 h 5467473"/>
              <a:gd name="connsiteX2" fmla="*/ 4756914 w 4774328"/>
              <a:gd name="connsiteY2" fmla="*/ 5460656 h 5467473"/>
              <a:gd name="connsiteX3" fmla="*/ 0 w 4774328"/>
              <a:gd name="connsiteY3" fmla="*/ 5467473 h 5467473"/>
              <a:gd name="connsiteX4" fmla="*/ 2042201 w 4774328"/>
              <a:gd name="connsiteY4" fmla="*/ 4509 h 5467473"/>
              <a:gd name="connsiteX0" fmla="*/ 2042201 w 4774328"/>
              <a:gd name="connsiteY0" fmla="*/ 4509 h 5474466"/>
              <a:gd name="connsiteX1" fmla="*/ 4774328 w 4774328"/>
              <a:gd name="connsiteY1" fmla="*/ 0 h 5474466"/>
              <a:gd name="connsiteX2" fmla="*/ 4765962 w 4774328"/>
              <a:gd name="connsiteY2" fmla="*/ 5474466 h 5474466"/>
              <a:gd name="connsiteX3" fmla="*/ 0 w 4774328"/>
              <a:gd name="connsiteY3" fmla="*/ 5467473 h 5474466"/>
              <a:gd name="connsiteX4" fmla="*/ 2042201 w 4774328"/>
              <a:gd name="connsiteY4" fmla="*/ 4509 h 5474466"/>
              <a:gd name="connsiteX0" fmla="*/ 2042201 w 4778853"/>
              <a:gd name="connsiteY0" fmla="*/ 0 h 5469957"/>
              <a:gd name="connsiteX1" fmla="*/ 4778853 w 4778853"/>
              <a:gd name="connsiteY1" fmla="*/ 4698 h 5469957"/>
              <a:gd name="connsiteX2" fmla="*/ 4765962 w 4778853"/>
              <a:gd name="connsiteY2" fmla="*/ 5469957 h 5469957"/>
              <a:gd name="connsiteX3" fmla="*/ 0 w 4778853"/>
              <a:gd name="connsiteY3" fmla="*/ 5462964 h 5469957"/>
              <a:gd name="connsiteX4" fmla="*/ 2042201 w 4778853"/>
              <a:gd name="connsiteY4" fmla="*/ 0 h 5469957"/>
              <a:gd name="connsiteX0" fmla="*/ 2042201 w 4781135"/>
              <a:gd name="connsiteY0" fmla="*/ 0 h 5462964"/>
              <a:gd name="connsiteX1" fmla="*/ 4778853 w 4781135"/>
              <a:gd name="connsiteY1" fmla="*/ 4698 h 5462964"/>
              <a:gd name="connsiteX2" fmla="*/ 4779535 w 4781135"/>
              <a:gd name="connsiteY2" fmla="*/ 5460751 h 5462964"/>
              <a:gd name="connsiteX3" fmla="*/ 0 w 4781135"/>
              <a:gd name="connsiteY3" fmla="*/ 5462964 h 5462964"/>
              <a:gd name="connsiteX4" fmla="*/ 2042201 w 4781135"/>
              <a:gd name="connsiteY4" fmla="*/ 0 h 5462964"/>
              <a:gd name="connsiteX0" fmla="*/ 2046725 w 4781135"/>
              <a:gd name="connsiteY0" fmla="*/ 0 h 5467567"/>
              <a:gd name="connsiteX1" fmla="*/ 4778853 w 4781135"/>
              <a:gd name="connsiteY1" fmla="*/ 9301 h 5467567"/>
              <a:gd name="connsiteX2" fmla="*/ 4779535 w 4781135"/>
              <a:gd name="connsiteY2" fmla="*/ 5465354 h 5467567"/>
              <a:gd name="connsiteX3" fmla="*/ 0 w 4781135"/>
              <a:gd name="connsiteY3" fmla="*/ 5467567 h 5467567"/>
              <a:gd name="connsiteX4" fmla="*/ 2046725 w 4781135"/>
              <a:gd name="connsiteY4" fmla="*/ 0 h 5467567"/>
              <a:gd name="connsiteX0" fmla="*/ 2046725 w 4779604"/>
              <a:gd name="connsiteY0" fmla="*/ 2821 h 5470388"/>
              <a:gd name="connsiteX1" fmla="*/ 4433343 w 4779604"/>
              <a:gd name="connsiteY1" fmla="*/ 0 h 5470388"/>
              <a:gd name="connsiteX2" fmla="*/ 4779535 w 4779604"/>
              <a:gd name="connsiteY2" fmla="*/ 5468175 h 5470388"/>
              <a:gd name="connsiteX3" fmla="*/ 0 w 4779604"/>
              <a:gd name="connsiteY3" fmla="*/ 5470388 h 5470388"/>
              <a:gd name="connsiteX4" fmla="*/ 2046725 w 4779604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3343" h="5470388">
                <a:moveTo>
                  <a:pt x="2046725" y="2821"/>
                </a:moveTo>
                <a:lnTo>
                  <a:pt x="4433343" y="0"/>
                </a:lnTo>
                <a:cubicBezTo>
                  <a:pt x="4427538" y="1820219"/>
                  <a:pt x="4431887" y="3647956"/>
                  <a:pt x="4426082" y="5468175"/>
                </a:cubicBezTo>
                <a:lnTo>
                  <a:pt x="0" y="5470388"/>
                </a:lnTo>
                <a:lnTo>
                  <a:pt x="2046725" y="2821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235253B-4788-48C3-8C5C-B27A4A2762F0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271D781-0BCC-494E-B7A3-16F3BF35C3D6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4D787DD-BBF4-4A33-9588-9B496123B2FC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1AFF213-746D-4026-BBDF-37085FA4ED9E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" name="Marcador de texto 5">
            <a:extLst>
              <a:ext uri="{FF2B5EF4-FFF2-40B4-BE49-F238E27FC236}">
                <a16:creationId xmlns:a16="http://schemas.microsoft.com/office/drawing/2014/main" id="{F1DDD6CC-4367-4C92-8DFA-810C67A783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404430" y="1396800"/>
            <a:ext cx="2414087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7" name="Marcador de texto 5">
            <a:extLst>
              <a:ext uri="{FF2B5EF4-FFF2-40B4-BE49-F238E27FC236}">
                <a16:creationId xmlns:a16="http://schemas.microsoft.com/office/drawing/2014/main" id="{7B89164F-9826-4814-8515-A61E08EB2A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404430" y="3106608"/>
            <a:ext cx="2414087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8" name="Marcador de texto 5">
            <a:extLst>
              <a:ext uri="{FF2B5EF4-FFF2-40B4-BE49-F238E27FC236}">
                <a16:creationId xmlns:a16="http://schemas.microsoft.com/office/drawing/2014/main" id="{A667C706-85AF-4EBD-861D-55FE6163B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04430" y="4821943"/>
            <a:ext cx="2414087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9" name="Marcador de texto 3">
            <a:extLst>
              <a:ext uri="{FF2B5EF4-FFF2-40B4-BE49-F238E27FC236}">
                <a16:creationId xmlns:a16="http://schemas.microsoft.com/office/drawing/2014/main" id="{6CFD4781-336D-4F3C-85AF-003EA049B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404520" y="2222453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chemeClr val="bg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0" name="Marcador de texto 3">
            <a:extLst>
              <a:ext uri="{FF2B5EF4-FFF2-40B4-BE49-F238E27FC236}">
                <a16:creationId xmlns:a16="http://schemas.microsoft.com/office/drawing/2014/main" id="{131273C2-7615-436D-990D-D20A0C2BE6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04520" y="2432899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chemeClr val="bg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1" name="Marcador de texto 3">
            <a:extLst>
              <a:ext uri="{FF2B5EF4-FFF2-40B4-BE49-F238E27FC236}">
                <a16:creationId xmlns:a16="http://schemas.microsoft.com/office/drawing/2014/main" id="{025BD441-33F7-4C41-84BC-606A7B4554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10925" y="3950669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chemeClr val="bg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2" name="Marcador de texto 3">
            <a:extLst>
              <a:ext uri="{FF2B5EF4-FFF2-40B4-BE49-F238E27FC236}">
                <a16:creationId xmlns:a16="http://schemas.microsoft.com/office/drawing/2014/main" id="{2017F5C9-F4AA-4820-84A9-FE1C4CF0407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410925" y="4161115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3" name="Marcador de texto 3">
            <a:extLst>
              <a:ext uri="{FF2B5EF4-FFF2-40B4-BE49-F238E27FC236}">
                <a16:creationId xmlns:a16="http://schemas.microsoft.com/office/drawing/2014/main" id="{CD9D557B-731A-4486-89A3-A28FB18C3D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4520" y="5649955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chemeClr val="bg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4" name="Marcador de texto 3">
            <a:extLst>
              <a:ext uri="{FF2B5EF4-FFF2-40B4-BE49-F238E27FC236}">
                <a16:creationId xmlns:a16="http://schemas.microsoft.com/office/drawing/2014/main" id="{42607C9A-4672-4E5B-83FC-18EB739625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04520" y="5860401"/>
            <a:ext cx="2414654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19362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ext + relevant figures+fullimag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6E4ADC8-0B09-456C-98F3-35E3A84B826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05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EBCB333-58BB-B544-BBAA-8ED40584E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54805" y="1396800"/>
            <a:ext cx="2463133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0" name="Marcador de texto 5">
            <a:extLst>
              <a:ext uri="{FF2B5EF4-FFF2-40B4-BE49-F238E27FC236}">
                <a16:creationId xmlns:a16="http://schemas.microsoft.com/office/drawing/2014/main" id="{2C06ACCB-354C-3D41-AB30-002D49D29C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54805" y="3106608"/>
            <a:ext cx="2463133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2" name="Marcador de texto 5">
            <a:extLst>
              <a:ext uri="{FF2B5EF4-FFF2-40B4-BE49-F238E27FC236}">
                <a16:creationId xmlns:a16="http://schemas.microsoft.com/office/drawing/2014/main" id="{55898699-B5C9-1042-AB4E-4107C11BB4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54805" y="4821943"/>
            <a:ext cx="2463133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8D5A004-570A-094C-B900-71EF2C9421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54805" y="2181942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875879A7-B32B-1A41-AC83-2784AED7BE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54805" y="3889058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4" name="Marcador de texto 3">
            <a:extLst>
              <a:ext uri="{FF2B5EF4-FFF2-40B4-BE49-F238E27FC236}">
                <a16:creationId xmlns:a16="http://schemas.microsoft.com/office/drawing/2014/main" id="{E61C715B-7BD4-534A-8056-30CB1B8EDD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54805" y="5590858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5339118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1" y="1396800"/>
            <a:ext cx="4034934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5339118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6AE2891-66DF-462A-B1BA-D359F8B895FC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DAFA182-F549-4DB6-8514-3778104EC9EE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EC6C7D4-8032-483B-A6F5-CAD20BEFBB5C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874DC1B-12AA-48F6-BA12-5D826A76C033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7319913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+ relevant figur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280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-36512" y="0"/>
            <a:ext cx="3756025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403725" y="722639"/>
            <a:ext cx="7414792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03725" y="1396800"/>
            <a:ext cx="7414792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135" y="252000"/>
            <a:ext cx="7414792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6D1FE24-3FB1-4965-9A0E-D81523BCBBED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A65080D-E1EA-48ED-B342-4C5DF44CEEF9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54E3B3-1486-462C-BBA1-41483863087A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1619248-42DE-4D4A-9A07-42C87EE4E17F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6DDF7D5-9C5D-45F0-9425-A0CAF51D7922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2" name="Marcador de texto 5">
            <a:extLst>
              <a:ext uri="{FF2B5EF4-FFF2-40B4-BE49-F238E27FC236}">
                <a16:creationId xmlns:a16="http://schemas.microsoft.com/office/drawing/2014/main" id="{4D81F058-BB1B-4732-B551-7E9EB41C33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396800"/>
            <a:ext cx="2680270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3" name="Marcador de texto 5">
            <a:extLst>
              <a:ext uri="{FF2B5EF4-FFF2-40B4-BE49-F238E27FC236}">
                <a16:creationId xmlns:a16="http://schemas.microsoft.com/office/drawing/2014/main" id="{57B95884-2216-4ADC-B34B-9541D33D69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106608"/>
            <a:ext cx="2680270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4" name="Marcador de texto 5">
            <a:extLst>
              <a:ext uri="{FF2B5EF4-FFF2-40B4-BE49-F238E27FC236}">
                <a16:creationId xmlns:a16="http://schemas.microsoft.com/office/drawing/2014/main" id="{989A93DB-5FAD-479C-9104-222317A66E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4821943"/>
            <a:ext cx="2680270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5" name="Marcador de texto 3">
            <a:extLst>
              <a:ext uri="{FF2B5EF4-FFF2-40B4-BE49-F238E27FC236}">
                <a16:creationId xmlns:a16="http://schemas.microsoft.com/office/drawing/2014/main" id="{1F8BBCEC-F3C3-43DD-AD9F-8B0F66A7EE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1565" y="2222453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6" name="Marcador de texto 3">
            <a:extLst>
              <a:ext uri="{FF2B5EF4-FFF2-40B4-BE49-F238E27FC236}">
                <a16:creationId xmlns:a16="http://schemas.microsoft.com/office/drawing/2014/main" id="{0EBDB276-6978-4FA5-9C48-29F1DFB0DE3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1565" y="2432899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7" name="Marcador de texto 3">
            <a:extLst>
              <a:ext uri="{FF2B5EF4-FFF2-40B4-BE49-F238E27FC236}">
                <a16:creationId xmlns:a16="http://schemas.microsoft.com/office/drawing/2014/main" id="{CD777A97-2975-4E36-8B58-40F206D85E6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7970" y="3950669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8" name="Marcador de texto 3">
            <a:extLst>
              <a:ext uri="{FF2B5EF4-FFF2-40B4-BE49-F238E27FC236}">
                <a16:creationId xmlns:a16="http://schemas.microsoft.com/office/drawing/2014/main" id="{1D9B2011-005B-4F2A-A4B7-AC82BE52B5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7970" y="4161115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9" name="Marcador de texto 3">
            <a:extLst>
              <a:ext uri="{FF2B5EF4-FFF2-40B4-BE49-F238E27FC236}">
                <a16:creationId xmlns:a16="http://schemas.microsoft.com/office/drawing/2014/main" id="{D82EAFE6-9BA8-4F1B-A497-7ADBB01A11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1565" y="5649955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40" name="Marcador de texto 3">
            <a:extLst>
              <a:ext uri="{FF2B5EF4-FFF2-40B4-BE49-F238E27FC236}">
                <a16:creationId xmlns:a16="http://schemas.microsoft.com/office/drawing/2014/main" id="{95DC9C14-7E4A-445E-B3FC-D318A3A088F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1565" y="5860401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313918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ext + relevant figures+imag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8884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-22480" y="0"/>
            <a:ext cx="326791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476705" y="722639"/>
            <a:ext cx="5339118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76705" y="1396800"/>
            <a:ext cx="534382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5115" y="252000"/>
            <a:ext cx="5339118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E88ABC6-3508-45D7-B3BD-99157607BE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45440" y="0"/>
            <a:ext cx="2844774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6425007-C1F1-4272-8C24-16DD4BA56766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C45CEBC-DFC8-49A3-8924-D39DB2FF6672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CF537F3-A857-4F40-8783-C1766F4BEDA7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B7B81D6-AA20-4DD5-B00E-170164D09F40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1" name="Marcador de texto 5">
            <a:extLst>
              <a:ext uri="{FF2B5EF4-FFF2-40B4-BE49-F238E27FC236}">
                <a16:creationId xmlns:a16="http://schemas.microsoft.com/office/drawing/2014/main" id="{16005AAB-4505-4EF7-ADC8-ED2F225864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1396800"/>
            <a:ext cx="2680270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2" name="Marcador de texto 5">
            <a:extLst>
              <a:ext uri="{FF2B5EF4-FFF2-40B4-BE49-F238E27FC236}">
                <a16:creationId xmlns:a16="http://schemas.microsoft.com/office/drawing/2014/main" id="{5F9F0803-E894-4ADF-BD10-E9C51EED75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3106608"/>
            <a:ext cx="2680270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3" name="Marcador de texto 5">
            <a:extLst>
              <a:ext uri="{FF2B5EF4-FFF2-40B4-BE49-F238E27FC236}">
                <a16:creationId xmlns:a16="http://schemas.microsoft.com/office/drawing/2014/main" id="{61D25BB2-14EC-49BD-B2A7-84E7280410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1475" y="4821943"/>
            <a:ext cx="2680270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34" name="Marcador de texto 3">
            <a:extLst>
              <a:ext uri="{FF2B5EF4-FFF2-40B4-BE49-F238E27FC236}">
                <a16:creationId xmlns:a16="http://schemas.microsoft.com/office/drawing/2014/main" id="{18C2E845-DE97-46E9-AA4B-E4A3F27297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1565" y="2222453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5" name="Marcador de texto 3">
            <a:extLst>
              <a:ext uri="{FF2B5EF4-FFF2-40B4-BE49-F238E27FC236}">
                <a16:creationId xmlns:a16="http://schemas.microsoft.com/office/drawing/2014/main" id="{08C63D87-C63D-4845-BC0D-1747746316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1565" y="2432899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6" name="Marcador de texto 3">
            <a:extLst>
              <a:ext uri="{FF2B5EF4-FFF2-40B4-BE49-F238E27FC236}">
                <a16:creationId xmlns:a16="http://schemas.microsoft.com/office/drawing/2014/main" id="{AFF0D77A-D381-49A9-9C7D-EE18D61BB9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7970" y="3950669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7" name="Marcador de texto 3">
            <a:extLst>
              <a:ext uri="{FF2B5EF4-FFF2-40B4-BE49-F238E27FC236}">
                <a16:creationId xmlns:a16="http://schemas.microsoft.com/office/drawing/2014/main" id="{DAE5EB56-9454-4A61-A1BA-1E2F008005C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7970" y="4161115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8" name="Marcador de texto 3">
            <a:extLst>
              <a:ext uri="{FF2B5EF4-FFF2-40B4-BE49-F238E27FC236}">
                <a16:creationId xmlns:a16="http://schemas.microsoft.com/office/drawing/2014/main" id="{8A839285-DE71-421B-8ACE-66F45262110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1565" y="5649955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200" b="1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9" name="Marcador de texto 3">
            <a:extLst>
              <a:ext uri="{FF2B5EF4-FFF2-40B4-BE49-F238E27FC236}">
                <a16:creationId xmlns:a16="http://schemas.microsoft.com/office/drawing/2014/main" id="{965D9AF4-C6D2-427C-B3C3-3C37E34C96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1565" y="5860401"/>
            <a:ext cx="26809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lang="en-GB" sz="1000" b="0" i="0" kern="120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</a:pPr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455818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+text+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E88ABC6-3508-45D7-B3BD-99157607BE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3245440" cy="6858000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1276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3245440" y="0"/>
            <a:ext cx="285056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EBCB333-58BB-B544-BBAA-8ED40584E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88552" y="1396800"/>
            <a:ext cx="837678" cy="797081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8D5A004-570A-094C-B900-71EF2C9421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99817" y="1393825"/>
            <a:ext cx="4020707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6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447258" y="2782607"/>
            <a:ext cx="2424562" cy="12743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788275" y="1744519"/>
            <a:ext cx="4032250" cy="4493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6441" y="1396800"/>
            <a:ext cx="2424562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4" name="Marcador de texto 5">
            <a:extLst>
              <a:ext uri="{FF2B5EF4-FFF2-40B4-BE49-F238E27FC236}">
                <a16:creationId xmlns:a16="http://schemas.microsoft.com/office/drawing/2014/main" id="{75F0A164-C6D2-41BE-B3C2-D78BEAB2F6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78907" y="3091977"/>
            <a:ext cx="837678" cy="797081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25" name="Marcador de texto 3">
            <a:extLst>
              <a:ext uri="{FF2B5EF4-FFF2-40B4-BE49-F238E27FC236}">
                <a16:creationId xmlns:a16="http://schemas.microsoft.com/office/drawing/2014/main" id="{591C145B-826B-4028-BD58-E397E52730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790172" y="3089002"/>
            <a:ext cx="4020707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6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D00F373C-0EBD-4504-8D67-E35870BFF0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778630" y="3439696"/>
            <a:ext cx="4032250" cy="4493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Marcador de texto 5">
            <a:extLst>
              <a:ext uri="{FF2B5EF4-FFF2-40B4-BE49-F238E27FC236}">
                <a16:creationId xmlns:a16="http://schemas.microsoft.com/office/drawing/2014/main" id="{47F80355-B7BD-4E65-AA3A-B1B0B7BB01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786544" y="4670936"/>
            <a:ext cx="837678" cy="797081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28" name="Marcador de texto 3">
            <a:extLst>
              <a:ext uri="{FF2B5EF4-FFF2-40B4-BE49-F238E27FC236}">
                <a16:creationId xmlns:a16="http://schemas.microsoft.com/office/drawing/2014/main" id="{34C6A042-7DB8-41DF-A005-B281DBDFBD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97809" y="4667961"/>
            <a:ext cx="4020707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6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5261A193-C1E8-4FB8-A24F-E6790AFE91D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786267" y="5018655"/>
            <a:ext cx="4032250" cy="4493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5178992-0D25-4414-A546-FAE8D2D2E3E1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1FDF39F-08FA-4D8B-A52E-3C5C27F8500B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25BFED6-6BBF-4AA4-8268-D8D790C8448A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F10321-F126-4292-8A54-B9181C2F401E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4840009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age+text+mi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E88ABC6-3508-45D7-B3BD-99157607BE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46560" y="0"/>
            <a:ext cx="3245440" cy="6878726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412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6086354" y="0"/>
            <a:ext cx="285056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EBCB333-58BB-B544-BBAA-8ED40584E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0162" y="1396800"/>
            <a:ext cx="837678" cy="797081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8D5A004-570A-094C-B900-71EF2C9421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91427" y="1393825"/>
            <a:ext cx="4020707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6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288172" y="2782607"/>
            <a:ext cx="2424562" cy="1274319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79885" y="1744519"/>
            <a:ext cx="4032250" cy="449362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7355" y="1396800"/>
            <a:ext cx="2424562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4" name="Marcador de texto 5">
            <a:extLst>
              <a:ext uri="{FF2B5EF4-FFF2-40B4-BE49-F238E27FC236}">
                <a16:creationId xmlns:a16="http://schemas.microsoft.com/office/drawing/2014/main" id="{75F0A164-C6D2-41BE-B3C2-D78BEAB2F6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0517" y="3091977"/>
            <a:ext cx="837678" cy="797081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25" name="Marcador de texto 3">
            <a:extLst>
              <a:ext uri="{FF2B5EF4-FFF2-40B4-BE49-F238E27FC236}">
                <a16:creationId xmlns:a16="http://schemas.microsoft.com/office/drawing/2014/main" id="{591C145B-826B-4028-BD58-E397E52730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81782" y="3089002"/>
            <a:ext cx="4020707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6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D00F373C-0EBD-4504-8D67-E35870BFF00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370240" y="3439696"/>
            <a:ext cx="4032250" cy="449362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Marcador de texto 5">
            <a:extLst>
              <a:ext uri="{FF2B5EF4-FFF2-40B4-BE49-F238E27FC236}">
                <a16:creationId xmlns:a16="http://schemas.microsoft.com/office/drawing/2014/main" id="{47F80355-B7BD-4E65-AA3A-B1B0B7BB01D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154" y="4670936"/>
            <a:ext cx="837678" cy="797081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28" name="Marcador de texto 3">
            <a:extLst>
              <a:ext uri="{FF2B5EF4-FFF2-40B4-BE49-F238E27FC236}">
                <a16:creationId xmlns:a16="http://schemas.microsoft.com/office/drawing/2014/main" id="{34C6A042-7DB8-41DF-A005-B281DBDFBD5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89419" y="4667961"/>
            <a:ext cx="4020707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6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5261A193-C1E8-4FB8-A24F-E6790AFE91D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377877" y="5018655"/>
            <a:ext cx="4032250" cy="449362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5A907A0-3C38-4D4C-B63E-B6D1A80355FD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7DF807A-14D7-4689-AFE5-DBEADA29FABD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C618635-424F-4818-ADC8-74E5C3F58F48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563B7B5-42DA-4284-A1CC-EF12A13191E1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76999088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ext + relevant figures+fullimages+stra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6E4ADC8-0B09-456C-98F3-35E3A84B826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22372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EBCB333-58BB-B544-BBAA-8ED40584E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0517" y="1396800"/>
            <a:ext cx="2463133" cy="787206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0" name="Marcador de texto 5">
            <a:extLst>
              <a:ext uri="{FF2B5EF4-FFF2-40B4-BE49-F238E27FC236}">
                <a16:creationId xmlns:a16="http://schemas.microsoft.com/office/drawing/2014/main" id="{2C06ACCB-354C-3D41-AB30-002D49D29C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0517" y="3106608"/>
            <a:ext cx="2463133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22" name="Marcador de texto 5">
            <a:extLst>
              <a:ext uri="{FF2B5EF4-FFF2-40B4-BE49-F238E27FC236}">
                <a16:creationId xmlns:a16="http://schemas.microsoft.com/office/drawing/2014/main" id="{55898699-B5C9-1042-AB4E-4107C11BB4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0517" y="4821943"/>
            <a:ext cx="2463133" cy="78720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6000" b="1">
                <a:solidFill>
                  <a:srgbClr val="FFFFFF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%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8D5A004-570A-094C-B900-71EF2C9421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0517" y="2181942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875879A7-B32B-1A41-AC83-2784AED7BE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0517" y="3889058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4" name="Marcador de texto 3">
            <a:extLst>
              <a:ext uri="{FF2B5EF4-FFF2-40B4-BE49-F238E27FC236}">
                <a16:creationId xmlns:a16="http://schemas.microsoft.com/office/drawing/2014/main" id="{E61C715B-7BD4-534A-8056-30CB1B8EDD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0517" y="5590858"/>
            <a:ext cx="2463712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000" b="0">
                <a:solidFill>
                  <a:srgbClr val="FFFFFF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482168" y="722639"/>
            <a:ext cx="5339118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82168" y="1396800"/>
            <a:ext cx="533577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0578" y="252000"/>
            <a:ext cx="5339118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FFD205B9-FAA3-4A0C-90C7-45BD6AA18BF0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F8C6DB5-D9AC-4D73-A780-B87A5D62902F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B65A4C5-6E4F-4D4E-B81B-1B7190DE0A81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DB8562E-6E9A-4BB4-A54F-5AE6EA4F85DC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3374386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llery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882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5339118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1" y="1396800"/>
            <a:ext cx="5337528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5339118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E88ABC6-3508-45D7-B3BD-99157607BE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1" y="1393825"/>
            <a:ext cx="2631310" cy="203517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439147A0-D8ED-48AE-A0B9-BF2EC8001FA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87207" y="1393823"/>
            <a:ext cx="2631310" cy="4754975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E5615A31-C9B5-440B-9CF1-C0CB53E6AC9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3771309"/>
            <a:ext cx="2631310" cy="2380253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08E995EF-CD4B-44D3-8287-87982ACEC439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F38B64-FDBA-4B83-946A-1B443D99D4E7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CCB7A68-2158-45F6-BC6B-87E3662CBAC3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E4285C1-08CA-4246-98A8-827B2F7587A4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079840B-A106-4733-AA82-A76189D14FD6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7087638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ller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185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73065" y="722639"/>
            <a:ext cx="1144905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1475" y="1396800"/>
            <a:ext cx="3348038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252000"/>
            <a:ext cx="114490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E88ABC6-3508-45D7-B3BD-99157607BE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03725" y="1396800"/>
            <a:ext cx="7414792" cy="203220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1704240-0B41-41FF-A04D-29C1203B79B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03725" y="3534259"/>
            <a:ext cx="3384550" cy="26173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DEC3E18B-2014-4B10-9B4A-54E41D160C0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445541" y="3534259"/>
            <a:ext cx="3372976" cy="261730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Graphic 10">
            <a:extLst>
              <a:ext uri="{FF2B5EF4-FFF2-40B4-BE49-F238E27FC236}">
                <a16:creationId xmlns:a16="http://schemas.microsoft.com/office/drawing/2014/main" id="{F45A5C7C-6B1F-4A6C-BCB3-63E9EE96EC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349703B4-A07C-4490-A719-680F8CF49444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843A16A-C90C-48C0-ACB5-4FA810C5B094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D5FB48-94D8-45F3-BF6A-9A862C57CCCF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13DE83E-DC2A-4444-8D88-72F110CD2BCA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E89B657-3391-4E16-8850-21B714215D8A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4716726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B232AB-6DE5-4E25-B6EB-5F718ECFBF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2121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B232AB-6DE5-4E25-B6EB-5F718ECFBF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8146453-8E47-4D97-A280-F4B6A30B5A3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41161F-003E-4201-A397-037C10BA5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0" y="252000"/>
            <a:ext cx="11448000" cy="4236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70701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allery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1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5339118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1475" y="1396800"/>
            <a:ext cx="5337528" cy="20322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5339118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E88ABC6-3508-45D7-B3BD-99157607BE6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1" y="1393825"/>
            <a:ext cx="5724524" cy="4757738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08E995EF-CD4B-44D3-8287-87982ACEC439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CDAEB77-60F5-4294-ACBA-811CBB4788E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2570" y="3893946"/>
            <a:ext cx="5337528" cy="2032200"/>
          </a:xfrm>
        </p:spPr>
        <p:txBody>
          <a:bodyPr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F6CD0F3-9297-4171-88D4-FF68E7AB1E03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4E088A-3691-4AFA-ACE1-A7DAA5B46439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C22BE30-F3FB-4420-9314-31634F09A6A4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2C63D8A-46C9-4654-87D7-51E8D1C538E1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37160033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3/4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9625F9-D0F7-4F1D-9E75-EFCBE6D108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029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9625F9-D0F7-4F1D-9E75-EFCBE6D108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717818D-03D3-4088-B4F5-5C9036181D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8435975" y="0"/>
            <a:ext cx="3756025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7FA79601-6D75-134E-BA64-A5A7233E509E}"/>
              </a:ext>
            </a:extLst>
          </p:cNvPr>
          <p:cNvSpPr/>
          <p:nvPr userDrawn="1"/>
        </p:nvSpPr>
        <p:spPr>
          <a:xfrm>
            <a:off x="8168715" y="5919790"/>
            <a:ext cx="267260" cy="9382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777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3671ED8-253E-42AD-9321-DDBCD673C4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8791" y="1396800"/>
            <a:ext cx="77760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E5C39C7D-BBB6-42B2-9FC0-226B965B4FCC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2" name="Graphic 10">
            <a:extLst>
              <a:ext uri="{FF2B5EF4-FFF2-40B4-BE49-F238E27FC236}">
                <a16:creationId xmlns:a16="http://schemas.microsoft.com/office/drawing/2014/main" id="{8485A29C-6C7F-4158-83E0-BF313911FC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B76B55EC-5CB2-4B0C-A95A-57651D762C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0" y="252000"/>
            <a:ext cx="777600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4943F093-CB74-4794-87AE-3A4947D0B4BE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6053548-D07B-454B-8A34-644179666B86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AD687B1-549A-4C04-927A-286C11313354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9CF0281-0D51-4053-8D2A-88AEF1574694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55906FE-9900-4E38-AEB1-EFFDFB52CE5B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0589771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3/4 lef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4699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8435975" y="0"/>
            <a:ext cx="3756025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777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8791" y="1396800"/>
            <a:ext cx="777600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777600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437200" y="0"/>
            <a:ext cx="3754800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28152A44-706F-4C30-AF33-CD2297C36935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F7A454-C642-41A2-AD1E-F520445F3C2C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46C3FEB-C9C3-4BD5-BC0E-A736FAEE8406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60373B8-D891-4249-9614-2E465CD87B49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A8AEE99-9209-4034-9BD9-159A7D3215CD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8025822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ullets 1/2 lef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315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6096001" y="0"/>
            <a:ext cx="6096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515812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1" y="252000"/>
            <a:ext cx="515812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1" y="0"/>
            <a:ext cx="609599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2" name="Marcador de texto 3">
            <a:extLst>
              <a:ext uri="{FF2B5EF4-FFF2-40B4-BE49-F238E27FC236}">
                <a16:creationId xmlns:a16="http://schemas.microsoft.com/office/drawing/2014/main" id="{5105EC19-A89A-4413-975E-4287E3F2A1C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871" y="2235395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63E77FB-D414-4658-AAE4-68067F066AC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4672" y="2556738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7D816371-9E8A-49A2-815C-80865CB7C54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300266" y="2235395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D93596B-1285-477F-B2D0-FD8228BECA9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03067" y="2556738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8CD6D356-74C7-4043-ADB7-B47A4764417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4672" y="4061192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86D0BEF-30D3-49F9-833D-BA4BC8AB22A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77473" y="4382535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Marcador de texto 3">
            <a:extLst>
              <a:ext uri="{FF2B5EF4-FFF2-40B4-BE49-F238E27FC236}">
                <a16:creationId xmlns:a16="http://schemas.microsoft.com/office/drawing/2014/main" id="{D89228B9-9AA6-485D-9B44-7B24906D15C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303067" y="4061192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256A4F92-9CCE-4911-88AE-117B4DACBA6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05868" y="4382535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1881D0F-7BC0-47DA-B8C9-C012ED7D30D8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A7B12E5-433C-4536-AFE0-9EE017F038BC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3E791B4-C43E-4934-ABBC-8CF37BD2F120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0741EDD-49B8-4F8E-A565-B24A1F7D2D81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429035163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s 1/2 righ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3176" y="0"/>
            <a:ext cx="6096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76" y="0"/>
            <a:ext cx="609599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1753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657596" y="722639"/>
            <a:ext cx="515812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56006" y="252000"/>
            <a:ext cx="515812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2" name="Marcador de texto 3">
            <a:extLst>
              <a:ext uri="{FF2B5EF4-FFF2-40B4-BE49-F238E27FC236}">
                <a16:creationId xmlns:a16="http://schemas.microsoft.com/office/drawing/2014/main" id="{5105EC19-A89A-4413-975E-4287E3F2A1C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660676" y="2235395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763E77FB-D414-4658-AAE4-68067F066AC1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663477" y="2550951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7D816371-9E8A-49A2-815C-80865CB7C54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589071" y="2235395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D93596B-1285-477F-B2D0-FD8228BECA9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591872" y="2550951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8CD6D356-74C7-4043-ADB7-B47A4764417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63477" y="4061192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186D0BEF-30D3-49F9-833D-BA4BC8AB22A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666278" y="4376748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Marcador de texto 3">
            <a:extLst>
              <a:ext uri="{FF2B5EF4-FFF2-40B4-BE49-F238E27FC236}">
                <a16:creationId xmlns:a16="http://schemas.microsoft.com/office/drawing/2014/main" id="{D89228B9-9AA6-485D-9B44-7B24906D15C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591872" y="4061192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256A4F92-9CCE-4911-88AE-117B4DACBA6A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594673" y="4376748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6398569-A327-4A40-B91C-0398CAE7566A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EBF5CB5-9136-4318-BFDB-18D2DC8CCED9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1CBAAD6-04C0-4D40-852E-3DA17F967249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11B38BB-8212-45F8-A774-648494388C07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0096622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ángulo 1">
            <a:extLst>
              <a:ext uri="{FF2B5EF4-FFF2-40B4-BE49-F238E27FC236}">
                <a16:creationId xmlns:a16="http://schemas.microsoft.com/office/drawing/2014/main" id="{8CE5CAA1-12E8-4B39-97F5-D7AEED480B1E}"/>
              </a:ext>
            </a:extLst>
          </p:cNvPr>
          <p:cNvSpPr/>
          <p:nvPr userDrawn="1"/>
        </p:nvSpPr>
        <p:spPr>
          <a:xfrm rot="10800000">
            <a:off x="-8399" y="-1969"/>
            <a:ext cx="6114006" cy="6863178"/>
          </a:xfrm>
          <a:custGeom>
            <a:avLst/>
            <a:gdLst>
              <a:gd name="connsiteX0" fmla="*/ 0 w 3267919"/>
              <a:gd name="connsiteY0" fmla="*/ 0 h 6858000"/>
              <a:gd name="connsiteX1" fmla="*/ 3267919 w 3267919"/>
              <a:gd name="connsiteY1" fmla="*/ 0 h 6858000"/>
              <a:gd name="connsiteX2" fmla="*/ 3267919 w 3267919"/>
              <a:gd name="connsiteY2" fmla="*/ 6858000 h 6858000"/>
              <a:gd name="connsiteX3" fmla="*/ 0 w 3267919"/>
              <a:gd name="connsiteY3" fmla="*/ 6858000 h 6858000"/>
              <a:gd name="connsiteX4" fmla="*/ 0 w 3267919"/>
              <a:gd name="connsiteY4" fmla="*/ 0 h 6858000"/>
              <a:gd name="connsiteX0" fmla="*/ 2835797 w 6103716"/>
              <a:gd name="connsiteY0" fmla="*/ 0 h 6858000"/>
              <a:gd name="connsiteX1" fmla="*/ 6103716 w 6103716"/>
              <a:gd name="connsiteY1" fmla="*/ 0 h 6858000"/>
              <a:gd name="connsiteX2" fmla="*/ 6103716 w 6103716"/>
              <a:gd name="connsiteY2" fmla="*/ 6858000 h 6858000"/>
              <a:gd name="connsiteX3" fmla="*/ 0 w 6103716"/>
              <a:gd name="connsiteY3" fmla="*/ 6858000 h 6858000"/>
              <a:gd name="connsiteX4" fmla="*/ 2835797 w 6103716"/>
              <a:gd name="connsiteY4" fmla="*/ 0 h 6858000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6103716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7232248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6983416"/>
              <a:gd name="connsiteY0" fmla="*/ 0 h 6863788"/>
              <a:gd name="connsiteX1" fmla="*/ 5148805 w 6983416"/>
              <a:gd name="connsiteY1" fmla="*/ 0 h 6863788"/>
              <a:gd name="connsiteX2" fmla="*/ 6983392 w 6983416"/>
              <a:gd name="connsiteY2" fmla="*/ 6858000 h 6863788"/>
              <a:gd name="connsiteX3" fmla="*/ 0 w 6983416"/>
              <a:gd name="connsiteY3" fmla="*/ 6863788 h 6863788"/>
              <a:gd name="connsiteX4" fmla="*/ 2586941 w 6983416"/>
              <a:gd name="connsiteY4" fmla="*/ 0 h 6863788"/>
              <a:gd name="connsiteX0" fmla="*/ 2586941 w 6983421"/>
              <a:gd name="connsiteY0" fmla="*/ 0 h 6863788"/>
              <a:gd name="connsiteX1" fmla="*/ 5513407 w 6983421"/>
              <a:gd name="connsiteY1" fmla="*/ 0 h 6863788"/>
              <a:gd name="connsiteX2" fmla="*/ 6983392 w 6983421"/>
              <a:gd name="connsiteY2" fmla="*/ 6858000 h 6863788"/>
              <a:gd name="connsiteX3" fmla="*/ 0 w 6983421"/>
              <a:gd name="connsiteY3" fmla="*/ 6863788 h 6863788"/>
              <a:gd name="connsiteX4" fmla="*/ 2586941 w 6983421"/>
              <a:gd name="connsiteY4" fmla="*/ 0 h 6863788"/>
              <a:gd name="connsiteX0" fmla="*/ 2586941 w 5513407"/>
              <a:gd name="connsiteY0" fmla="*/ 0 h 6869575"/>
              <a:gd name="connsiteX1" fmla="*/ 5513407 w 5513407"/>
              <a:gd name="connsiteY1" fmla="*/ 0 h 6869575"/>
              <a:gd name="connsiteX2" fmla="*/ 5183529 w 5513407"/>
              <a:gd name="connsiteY2" fmla="*/ 6869575 h 6869575"/>
              <a:gd name="connsiteX3" fmla="*/ 0 w 5513407"/>
              <a:gd name="connsiteY3" fmla="*/ 6863788 h 6869575"/>
              <a:gd name="connsiteX4" fmla="*/ 2586941 w 5513407"/>
              <a:gd name="connsiteY4" fmla="*/ 0 h 6869575"/>
              <a:gd name="connsiteX0" fmla="*/ 2586941 w 5513407"/>
              <a:gd name="connsiteY0" fmla="*/ 0 h 6863788"/>
              <a:gd name="connsiteX1" fmla="*/ 5513407 w 5513407"/>
              <a:gd name="connsiteY1" fmla="*/ 0 h 6863788"/>
              <a:gd name="connsiteX2" fmla="*/ 5496045 w 5513407"/>
              <a:gd name="connsiteY2" fmla="*/ 6829064 h 6863788"/>
              <a:gd name="connsiteX3" fmla="*/ 0 w 5513407"/>
              <a:gd name="connsiteY3" fmla="*/ 6863788 h 6863788"/>
              <a:gd name="connsiteX4" fmla="*/ 2586941 w 5513407"/>
              <a:gd name="connsiteY4" fmla="*/ 0 h 6863788"/>
              <a:gd name="connsiteX0" fmla="*/ 2586941 w 5520913"/>
              <a:gd name="connsiteY0" fmla="*/ 0 h 6863788"/>
              <a:gd name="connsiteX1" fmla="*/ 5513407 w 5520913"/>
              <a:gd name="connsiteY1" fmla="*/ 0 h 6863788"/>
              <a:gd name="connsiteX2" fmla="*/ 5519195 w 5520913"/>
              <a:gd name="connsiteY2" fmla="*/ 6840638 h 6863788"/>
              <a:gd name="connsiteX3" fmla="*/ 0 w 5520913"/>
              <a:gd name="connsiteY3" fmla="*/ 6863788 h 6863788"/>
              <a:gd name="connsiteX4" fmla="*/ 2586941 w 5520913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52723 w 5509031"/>
              <a:gd name="connsiteY0" fmla="*/ 0 h 6852213"/>
              <a:gd name="connsiteX1" fmla="*/ 5479189 w 5509031"/>
              <a:gd name="connsiteY1" fmla="*/ 0 h 6852213"/>
              <a:gd name="connsiteX2" fmla="*/ 5508126 w 5509031"/>
              <a:gd name="connsiteY2" fmla="*/ 6852213 h 6852213"/>
              <a:gd name="connsiteX3" fmla="*/ 0 w 5509031"/>
              <a:gd name="connsiteY3" fmla="*/ 6789649 h 6852213"/>
              <a:gd name="connsiteX4" fmla="*/ 2552723 w 5509031"/>
              <a:gd name="connsiteY4" fmla="*/ 0 h 6852213"/>
              <a:gd name="connsiteX0" fmla="*/ 2552723 w 5494413"/>
              <a:gd name="connsiteY0" fmla="*/ 0 h 6789649"/>
              <a:gd name="connsiteX1" fmla="*/ 5479189 w 5494413"/>
              <a:gd name="connsiteY1" fmla="*/ 0 h 6789649"/>
              <a:gd name="connsiteX2" fmla="*/ 5493109 w 5494413"/>
              <a:gd name="connsiteY2" fmla="*/ 6606924 h 6789649"/>
              <a:gd name="connsiteX3" fmla="*/ 0 w 5494413"/>
              <a:gd name="connsiteY3" fmla="*/ 6789649 h 6789649"/>
              <a:gd name="connsiteX4" fmla="*/ 2552723 w 5494413"/>
              <a:gd name="connsiteY4" fmla="*/ 0 h 6789649"/>
              <a:gd name="connsiteX0" fmla="*/ 2552723 w 5479189"/>
              <a:gd name="connsiteY0" fmla="*/ 0 h 6789649"/>
              <a:gd name="connsiteX1" fmla="*/ 5479189 w 5479189"/>
              <a:gd name="connsiteY1" fmla="*/ 0 h 6789649"/>
              <a:gd name="connsiteX2" fmla="*/ 5433038 w 5479189"/>
              <a:gd name="connsiteY2" fmla="*/ 6757102 h 6789649"/>
              <a:gd name="connsiteX3" fmla="*/ 0 w 5479189"/>
              <a:gd name="connsiteY3" fmla="*/ 6789649 h 6789649"/>
              <a:gd name="connsiteX4" fmla="*/ 2552723 w 5479189"/>
              <a:gd name="connsiteY4" fmla="*/ 0 h 6789649"/>
              <a:gd name="connsiteX0" fmla="*/ 3088411 w 6014877"/>
              <a:gd name="connsiteY0" fmla="*/ 0 h 6757102"/>
              <a:gd name="connsiteX1" fmla="*/ 6014877 w 6014877"/>
              <a:gd name="connsiteY1" fmla="*/ 0 h 6757102"/>
              <a:gd name="connsiteX2" fmla="*/ 5968726 w 6014877"/>
              <a:gd name="connsiteY2" fmla="*/ 6757102 h 6757102"/>
              <a:gd name="connsiteX3" fmla="*/ 0 w 6014877"/>
              <a:gd name="connsiteY3" fmla="*/ 6737568 h 6757102"/>
              <a:gd name="connsiteX4" fmla="*/ 3088411 w 6014877"/>
              <a:gd name="connsiteY4" fmla="*/ 0 h 6757102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46405 w 6014877"/>
              <a:gd name="connsiteY2" fmla="*/ 6593419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38965 w 6014877"/>
              <a:gd name="connsiteY2" fmla="*/ 6727341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46405 w 6014877"/>
              <a:gd name="connsiteY2" fmla="*/ 6712461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35104 w 6014877"/>
              <a:gd name="connsiteY2" fmla="*/ 6729413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52057 w 6014877"/>
              <a:gd name="connsiteY2" fmla="*/ 6729413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2534640 w 6014877"/>
              <a:gd name="connsiteY0" fmla="*/ 11302 h 6737568"/>
              <a:gd name="connsiteX1" fmla="*/ 6014877 w 6014877"/>
              <a:gd name="connsiteY1" fmla="*/ 0 h 6737568"/>
              <a:gd name="connsiteX2" fmla="*/ 5952057 w 6014877"/>
              <a:gd name="connsiteY2" fmla="*/ 6729413 h 6737568"/>
              <a:gd name="connsiteX3" fmla="*/ 0 w 6014877"/>
              <a:gd name="connsiteY3" fmla="*/ 6737568 h 6737568"/>
              <a:gd name="connsiteX4" fmla="*/ 2534640 w 6014877"/>
              <a:gd name="connsiteY4" fmla="*/ 11302 h 6737568"/>
              <a:gd name="connsiteX0" fmla="*/ 2534640 w 5954363"/>
              <a:gd name="connsiteY0" fmla="*/ 0 h 6726266"/>
              <a:gd name="connsiteX1" fmla="*/ 5952719 w 5954363"/>
              <a:gd name="connsiteY1" fmla="*/ 11301 h 6726266"/>
              <a:gd name="connsiteX2" fmla="*/ 5952057 w 5954363"/>
              <a:gd name="connsiteY2" fmla="*/ 6718111 h 6726266"/>
              <a:gd name="connsiteX3" fmla="*/ 0 w 5954363"/>
              <a:gd name="connsiteY3" fmla="*/ 6726266 h 6726266"/>
              <a:gd name="connsiteX4" fmla="*/ 2534640 w 5954363"/>
              <a:gd name="connsiteY4" fmla="*/ 0 h 6726266"/>
              <a:gd name="connsiteX0" fmla="*/ 2534640 w 5952207"/>
              <a:gd name="connsiteY0" fmla="*/ 0 h 6726266"/>
              <a:gd name="connsiteX1" fmla="*/ 5675834 w 5952207"/>
              <a:gd name="connsiteY1" fmla="*/ 118664 h 6726266"/>
              <a:gd name="connsiteX2" fmla="*/ 5952057 w 5952207"/>
              <a:gd name="connsiteY2" fmla="*/ 6718111 h 6726266"/>
              <a:gd name="connsiteX3" fmla="*/ 0 w 5952207"/>
              <a:gd name="connsiteY3" fmla="*/ 6726266 h 6726266"/>
              <a:gd name="connsiteX4" fmla="*/ 2534640 w 5952207"/>
              <a:gd name="connsiteY4" fmla="*/ 0 h 6726266"/>
              <a:gd name="connsiteX0" fmla="*/ 2534640 w 5958370"/>
              <a:gd name="connsiteY0" fmla="*/ 0 h 6726266"/>
              <a:gd name="connsiteX1" fmla="*/ 5958370 w 5958370"/>
              <a:gd name="connsiteY1" fmla="*/ 28253 h 6726266"/>
              <a:gd name="connsiteX2" fmla="*/ 5952057 w 5958370"/>
              <a:gd name="connsiteY2" fmla="*/ 6718111 h 6726266"/>
              <a:gd name="connsiteX3" fmla="*/ 0 w 5958370"/>
              <a:gd name="connsiteY3" fmla="*/ 6726266 h 6726266"/>
              <a:gd name="connsiteX4" fmla="*/ 2534640 w 5958370"/>
              <a:gd name="connsiteY4" fmla="*/ 0 h 6726266"/>
              <a:gd name="connsiteX0" fmla="*/ 2574194 w 5958370"/>
              <a:gd name="connsiteY0" fmla="*/ 50857 h 6698013"/>
              <a:gd name="connsiteX1" fmla="*/ 5958370 w 5958370"/>
              <a:gd name="connsiteY1" fmla="*/ 0 h 6698013"/>
              <a:gd name="connsiteX2" fmla="*/ 5952057 w 5958370"/>
              <a:gd name="connsiteY2" fmla="*/ 6689858 h 6698013"/>
              <a:gd name="connsiteX3" fmla="*/ 0 w 5958370"/>
              <a:gd name="connsiteY3" fmla="*/ 6698013 h 6698013"/>
              <a:gd name="connsiteX4" fmla="*/ 2574194 w 5958370"/>
              <a:gd name="connsiteY4" fmla="*/ 50857 h 6698013"/>
              <a:gd name="connsiteX0" fmla="*/ 2534640 w 5958370"/>
              <a:gd name="connsiteY0" fmla="*/ 0 h 6709314"/>
              <a:gd name="connsiteX1" fmla="*/ 5958370 w 5958370"/>
              <a:gd name="connsiteY1" fmla="*/ 11301 h 6709314"/>
              <a:gd name="connsiteX2" fmla="*/ 5952057 w 5958370"/>
              <a:gd name="connsiteY2" fmla="*/ 6701159 h 6709314"/>
              <a:gd name="connsiteX3" fmla="*/ 0 w 5958370"/>
              <a:gd name="connsiteY3" fmla="*/ 6709314 h 6709314"/>
              <a:gd name="connsiteX4" fmla="*/ 2534640 w 5958370"/>
              <a:gd name="connsiteY4" fmla="*/ 0 h 6709314"/>
              <a:gd name="connsiteX0" fmla="*/ 2545942 w 5969672"/>
              <a:gd name="connsiteY0" fmla="*/ 0 h 6701159"/>
              <a:gd name="connsiteX1" fmla="*/ 5969672 w 5969672"/>
              <a:gd name="connsiteY1" fmla="*/ 11301 h 6701159"/>
              <a:gd name="connsiteX2" fmla="*/ 5963359 w 5969672"/>
              <a:gd name="connsiteY2" fmla="*/ 6701159 h 6701159"/>
              <a:gd name="connsiteX3" fmla="*/ 0 w 5969672"/>
              <a:gd name="connsiteY3" fmla="*/ 6698012 h 6701159"/>
              <a:gd name="connsiteX4" fmla="*/ 2545942 w 5969672"/>
              <a:gd name="connsiteY4" fmla="*/ 0 h 6701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69672" h="6701159">
                <a:moveTo>
                  <a:pt x="2545942" y="0"/>
                </a:moveTo>
                <a:lnTo>
                  <a:pt x="5969672" y="11301"/>
                </a:lnTo>
                <a:cubicBezTo>
                  <a:pt x="5961956" y="2299230"/>
                  <a:pt x="5971075" y="4413230"/>
                  <a:pt x="5963359" y="6701159"/>
                </a:cubicBezTo>
                <a:lnTo>
                  <a:pt x="0" y="6698012"/>
                </a:lnTo>
                <a:lnTo>
                  <a:pt x="2545942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409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EBCB333-58BB-B544-BBAA-8ED40584E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1444" y="1396800"/>
            <a:ext cx="5722517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8D5A004-570A-094C-B900-71EF2C9421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1444" y="1808139"/>
            <a:ext cx="5723862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6523" y="1396800"/>
            <a:ext cx="3352990" cy="29494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928" y="252000"/>
            <a:ext cx="3350350" cy="9054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D6D2B9E-3868-4EC8-B3F9-AFDB67FAB4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1238" y="2121777"/>
            <a:ext cx="573405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Marcador de texto 5">
            <a:extLst>
              <a:ext uri="{FF2B5EF4-FFF2-40B4-BE49-F238E27FC236}">
                <a16:creationId xmlns:a16="http://schemas.microsoft.com/office/drawing/2014/main" id="{4E73268A-D8AC-4A88-8197-ADDA434368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6206" y="2660364"/>
            <a:ext cx="5722517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26650491-2940-408D-AA73-AEEDDD1C0C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206" y="3071703"/>
            <a:ext cx="5723862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3A99E160-9CB7-46F7-BFA5-4D8D9B20F9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0" y="3385341"/>
            <a:ext cx="573405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Marcador de texto 5">
            <a:extLst>
              <a:ext uri="{FF2B5EF4-FFF2-40B4-BE49-F238E27FC236}">
                <a16:creationId xmlns:a16="http://schemas.microsoft.com/office/drawing/2014/main" id="{42EE6536-0BB8-4A6D-9D22-EA3B9FA16FB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6412" y="3910288"/>
            <a:ext cx="5722517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30" name="Marcador de texto 3">
            <a:extLst>
              <a:ext uri="{FF2B5EF4-FFF2-40B4-BE49-F238E27FC236}">
                <a16:creationId xmlns:a16="http://schemas.microsoft.com/office/drawing/2014/main" id="{E53787EC-9BC5-4F7F-9E55-20D2FEB065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412" y="4321627"/>
            <a:ext cx="5723862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AF5E5ABC-8A90-431B-8681-F770DC35B27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206" y="4635265"/>
            <a:ext cx="573405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Marcador de texto 5">
            <a:extLst>
              <a:ext uri="{FF2B5EF4-FFF2-40B4-BE49-F238E27FC236}">
                <a16:creationId xmlns:a16="http://schemas.microsoft.com/office/drawing/2014/main" id="{D1EAAC23-31AB-400D-B902-A13EC10EAFD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618" y="5159695"/>
            <a:ext cx="5722517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33" name="Marcador de texto 3">
            <a:extLst>
              <a:ext uri="{FF2B5EF4-FFF2-40B4-BE49-F238E27FC236}">
                <a16:creationId xmlns:a16="http://schemas.microsoft.com/office/drawing/2014/main" id="{A9BE9442-5EA2-4FE1-814F-10C81CE0E2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6618" y="5571034"/>
            <a:ext cx="5723862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4DD1878A-DCCC-4F22-8B0F-E794A9D0F7E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096412" y="5884672"/>
            <a:ext cx="573405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D7028F5-41F1-4874-83FE-6BD5DAAC8B19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25A0D7D-F7EA-4C34-8C60-991037B35E97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4787A46-69D5-4929-8614-456C5C0DD1BA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12D32501-CA50-46B1-982E-760E641272A0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22934728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ángulo 1">
            <a:extLst>
              <a:ext uri="{FF2B5EF4-FFF2-40B4-BE49-F238E27FC236}">
                <a16:creationId xmlns:a16="http://schemas.microsoft.com/office/drawing/2014/main" id="{34B86330-9A35-45F6-9C81-EEF37DAF6803}"/>
              </a:ext>
            </a:extLst>
          </p:cNvPr>
          <p:cNvSpPr/>
          <p:nvPr userDrawn="1"/>
        </p:nvSpPr>
        <p:spPr>
          <a:xfrm rot="10800000">
            <a:off x="-8399" y="-1969"/>
            <a:ext cx="6114006" cy="6863178"/>
          </a:xfrm>
          <a:custGeom>
            <a:avLst/>
            <a:gdLst>
              <a:gd name="connsiteX0" fmla="*/ 0 w 3267919"/>
              <a:gd name="connsiteY0" fmla="*/ 0 h 6858000"/>
              <a:gd name="connsiteX1" fmla="*/ 3267919 w 3267919"/>
              <a:gd name="connsiteY1" fmla="*/ 0 h 6858000"/>
              <a:gd name="connsiteX2" fmla="*/ 3267919 w 3267919"/>
              <a:gd name="connsiteY2" fmla="*/ 6858000 h 6858000"/>
              <a:gd name="connsiteX3" fmla="*/ 0 w 3267919"/>
              <a:gd name="connsiteY3" fmla="*/ 6858000 h 6858000"/>
              <a:gd name="connsiteX4" fmla="*/ 0 w 3267919"/>
              <a:gd name="connsiteY4" fmla="*/ 0 h 6858000"/>
              <a:gd name="connsiteX0" fmla="*/ 2835797 w 6103716"/>
              <a:gd name="connsiteY0" fmla="*/ 0 h 6858000"/>
              <a:gd name="connsiteX1" fmla="*/ 6103716 w 6103716"/>
              <a:gd name="connsiteY1" fmla="*/ 0 h 6858000"/>
              <a:gd name="connsiteX2" fmla="*/ 6103716 w 6103716"/>
              <a:gd name="connsiteY2" fmla="*/ 6858000 h 6858000"/>
              <a:gd name="connsiteX3" fmla="*/ 0 w 6103716"/>
              <a:gd name="connsiteY3" fmla="*/ 6858000 h 6858000"/>
              <a:gd name="connsiteX4" fmla="*/ 2835797 w 6103716"/>
              <a:gd name="connsiteY4" fmla="*/ 0 h 6858000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6103716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7232248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6983416"/>
              <a:gd name="connsiteY0" fmla="*/ 0 h 6863788"/>
              <a:gd name="connsiteX1" fmla="*/ 5148805 w 6983416"/>
              <a:gd name="connsiteY1" fmla="*/ 0 h 6863788"/>
              <a:gd name="connsiteX2" fmla="*/ 6983392 w 6983416"/>
              <a:gd name="connsiteY2" fmla="*/ 6858000 h 6863788"/>
              <a:gd name="connsiteX3" fmla="*/ 0 w 6983416"/>
              <a:gd name="connsiteY3" fmla="*/ 6863788 h 6863788"/>
              <a:gd name="connsiteX4" fmla="*/ 2586941 w 6983416"/>
              <a:gd name="connsiteY4" fmla="*/ 0 h 6863788"/>
              <a:gd name="connsiteX0" fmla="*/ 2586941 w 6983421"/>
              <a:gd name="connsiteY0" fmla="*/ 0 h 6863788"/>
              <a:gd name="connsiteX1" fmla="*/ 5513407 w 6983421"/>
              <a:gd name="connsiteY1" fmla="*/ 0 h 6863788"/>
              <a:gd name="connsiteX2" fmla="*/ 6983392 w 6983421"/>
              <a:gd name="connsiteY2" fmla="*/ 6858000 h 6863788"/>
              <a:gd name="connsiteX3" fmla="*/ 0 w 6983421"/>
              <a:gd name="connsiteY3" fmla="*/ 6863788 h 6863788"/>
              <a:gd name="connsiteX4" fmla="*/ 2586941 w 6983421"/>
              <a:gd name="connsiteY4" fmla="*/ 0 h 6863788"/>
              <a:gd name="connsiteX0" fmla="*/ 2586941 w 5513407"/>
              <a:gd name="connsiteY0" fmla="*/ 0 h 6869575"/>
              <a:gd name="connsiteX1" fmla="*/ 5513407 w 5513407"/>
              <a:gd name="connsiteY1" fmla="*/ 0 h 6869575"/>
              <a:gd name="connsiteX2" fmla="*/ 5183529 w 5513407"/>
              <a:gd name="connsiteY2" fmla="*/ 6869575 h 6869575"/>
              <a:gd name="connsiteX3" fmla="*/ 0 w 5513407"/>
              <a:gd name="connsiteY3" fmla="*/ 6863788 h 6869575"/>
              <a:gd name="connsiteX4" fmla="*/ 2586941 w 5513407"/>
              <a:gd name="connsiteY4" fmla="*/ 0 h 6869575"/>
              <a:gd name="connsiteX0" fmla="*/ 2586941 w 5513407"/>
              <a:gd name="connsiteY0" fmla="*/ 0 h 6863788"/>
              <a:gd name="connsiteX1" fmla="*/ 5513407 w 5513407"/>
              <a:gd name="connsiteY1" fmla="*/ 0 h 6863788"/>
              <a:gd name="connsiteX2" fmla="*/ 5496045 w 5513407"/>
              <a:gd name="connsiteY2" fmla="*/ 6829064 h 6863788"/>
              <a:gd name="connsiteX3" fmla="*/ 0 w 5513407"/>
              <a:gd name="connsiteY3" fmla="*/ 6863788 h 6863788"/>
              <a:gd name="connsiteX4" fmla="*/ 2586941 w 5513407"/>
              <a:gd name="connsiteY4" fmla="*/ 0 h 6863788"/>
              <a:gd name="connsiteX0" fmla="*/ 2586941 w 5520913"/>
              <a:gd name="connsiteY0" fmla="*/ 0 h 6863788"/>
              <a:gd name="connsiteX1" fmla="*/ 5513407 w 5520913"/>
              <a:gd name="connsiteY1" fmla="*/ 0 h 6863788"/>
              <a:gd name="connsiteX2" fmla="*/ 5519195 w 5520913"/>
              <a:gd name="connsiteY2" fmla="*/ 6840638 h 6863788"/>
              <a:gd name="connsiteX3" fmla="*/ 0 w 5520913"/>
              <a:gd name="connsiteY3" fmla="*/ 6863788 h 6863788"/>
              <a:gd name="connsiteX4" fmla="*/ 2586941 w 5520913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52723 w 5509031"/>
              <a:gd name="connsiteY0" fmla="*/ 0 h 6852213"/>
              <a:gd name="connsiteX1" fmla="*/ 5479189 w 5509031"/>
              <a:gd name="connsiteY1" fmla="*/ 0 h 6852213"/>
              <a:gd name="connsiteX2" fmla="*/ 5508126 w 5509031"/>
              <a:gd name="connsiteY2" fmla="*/ 6852213 h 6852213"/>
              <a:gd name="connsiteX3" fmla="*/ 0 w 5509031"/>
              <a:gd name="connsiteY3" fmla="*/ 6789649 h 6852213"/>
              <a:gd name="connsiteX4" fmla="*/ 2552723 w 5509031"/>
              <a:gd name="connsiteY4" fmla="*/ 0 h 6852213"/>
              <a:gd name="connsiteX0" fmla="*/ 2552723 w 5494413"/>
              <a:gd name="connsiteY0" fmla="*/ 0 h 6789649"/>
              <a:gd name="connsiteX1" fmla="*/ 5479189 w 5494413"/>
              <a:gd name="connsiteY1" fmla="*/ 0 h 6789649"/>
              <a:gd name="connsiteX2" fmla="*/ 5493109 w 5494413"/>
              <a:gd name="connsiteY2" fmla="*/ 6606924 h 6789649"/>
              <a:gd name="connsiteX3" fmla="*/ 0 w 5494413"/>
              <a:gd name="connsiteY3" fmla="*/ 6789649 h 6789649"/>
              <a:gd name="connsiteX4" fmla="*/ 2552723 w 5494413"/>
              <a:gd name="connsiteY4" fmla="*/ 0 h 6789649"/>
              <a:gd name="connsiteX0" fmla="*/ 2552723 w 5479189"/>
              <a:gd name="connsiteY0" fmla="*/ 0 h 6789649"/>
              <a:gd name="connsiteX1" fmla="*/ 5479189 w 5479189"/>
              <a:gd name="connsiteY1" fmla="*/ 0 h 6789649"/>
              <a:gd name="connsiteX2" fmla="*/ 5433038 w 5479189"/>
              <a:gd name="connsiteY2" fmla="*/ 6757102 h 6789649"/>
              <a:gd name="connsiteX3" fmla="*/ 0 w 5479189"/>
              <a:gd name="connsiteY3" fmla="*/ 6789649 h 6789649"/>
              <a:gd name="connsiteX4" fmla="*/ 2552723 w 5479189"/>
              <a:gd name="connsiteY4" fmla="*/ 0 h 6789649"/>
              <a:gd name="connsiteX0" fmla="*/ 3088411 w 6014877"/>
              <a:gd name="connsiteY0" fmla="*/ 0 h 6757102"/>
              <a:gd name="connsiteX1" fmla="*/ 6014877 w 6014877"/>
              <a:gd name="connsiteY1" fmla="*/ 0 h 6757102"/>
              <a:gd name="connsiteX2" fmla="*/ 5968726 w 6014877"/>
              <a:gd name="connsiteY2" fmla="*/ 6757102 h 6757102"/>
              <a:gd name="connsiteX3" fmla="*/ 0 w 6014877"/>
              <a:gd name="connsiteY3" fmla="*/ 6737568 h 6757102"/>
              <a:gd name="connsiteX4" fmla="*/ 3088411 w 6014877"/>
              <a:gd name="connsiteY4" fmla="*/ 0 h 6757102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46405 w 6014877"/>
              <a:gd name="connsiteY2" fmla="*/ 6593419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38965 w 6014877"/>
              <a:gd name="connsiteY2" fmla="*/ 6727341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46405 w 6014877"/>
              <a:gd name="connsiteY2" fmla="*/ 6712461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35104 w 6014877"/>
              <a:gd name="connsiteY2" fmla="*/ 6729413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3088411 w 6014877"/>
              <a:gd name="connsiteY0" fmla="*/ 0 h 6737568"/>
              <a:gd name="connsiteX1" fmla="*/ 6014877 w 6014877"/>
              <a:gd name="connsiteY1" fmla="*/ 0 h 6737568"/>
              <a:gd name="connsiteX2" fmla="*/ 5952057 w 6014877"/>
              <a:gd name="connsiteY2" fmla="*/ 6729413 h 6737568"/>
              <a:gd name="connsiteX3" fmla="*/ 0 w 6014877"/>
              <a:gd name="connsiteY3" fmla="*/ 6737568 h 6737568"/>
              <a:gd name="connsiteX4" fmla="*/ 3088411 w 6014877"/>
              <a:gd name="connsiteY4" fmla="*/ 0 h 6737568"/>
              <a:gd name="connsiteX0" fmla="*/ 2534640 w 6014877"/>
              <a:gd name="connsiteY0" fmla="*/ 11302 h 6737568"/>
              <a:gd name="connsiteX1" fmla="*/ 6014877 w 6014877"/>
              <a:gd name="connsiteY1" fmla="*/ 0 h 6737568"/>
              <a:gd name="connsiteX2" fmla="*/ 5952057 w 6014877"/>
              <a:gd name="connsiteY2" fmla="*/ 6729413 h 6737568"/>
              <a:gd name="connsiteX3" fmla="*/ 0 w 6014877"/>
              <a:gd name="connsiteY3" fmla="*/ 6737568 h 6737568"/>
              <a:gd name="connsiteX4" fmla="*/ 2534640 w 6014877"/>
              <a:gd name="connsiteY4" fmla="*/ 11302 h 6737568"/>
              <a:gd name="connsiteX0" fmla="*/ 2534640 w 5954363"/>
              <a:gd name="connsiteY0" fmla="*/ 0 h 6726266"/>
              <a:gd name="connsiteX1" fmla="*/ 5952719 w 5954363"/>
              <a:gd name="connsiteY1" fmla="*/ 11301 h 6726266"/>
              <a:gd name="connsiteX2" fmla="*/ 5952057 w 5954363"/>
              <a:gd name="connsiteY2" fmla="*/ 6718111 h 6726266"/>
              <a:gd name="connsiteX3" fmla="*/ 0 w 5954363"/>
              <a:gd name="connsiteY3" fmla="*/ 6726266 h 6726266"/>
              <a:gd name="connsiteX4" fmla="*/ 2534640 w 5954363"/>
              <a:gd name="connsiteY4" fmla="*/ 0 h 6726266"/>
              <a:gd name="connsiteX0" fmla="*/ 2534640 w 5952207"/>
              <a:gd name="connsiteY0" fmla="*/ 0 h 6726266"/>
              <a:gd name="connsiteX1" fmla="*/ 5675834 w 5952207"/>
              <a:gd name="connsiteY1" fmla="*/ 118664 h 6726266"/>
              <a:gd name="connsiteX2" fmla="*/ 5952057 w 5952207"/>
              <a:gd name="connsiteY2" fmla="*/ 6718111 h 6726266"/>
              <a:gd name="connsiteX3" fmla="*/ 0 w 5952207"/>
              <a:gd name="connsiteY3" fmla="*/ 6726266 h 6726266"/>
              <a:gd name="connsiteX4" fmla="*/ 2534640 w 5952207"/>
              <a:gd name="connsiteY4" fmla="*/ 0 h 6726266"/>
              <a:gd name="connsiteX0" fmla="*/ 2534640 w 5958370"/>
              <a:gd name="connsiteY0" fmla="*/ 0 h 6726266"/>
              <a:gd name="connsiteX1" fmla="*/ 5958370 w 5958370"/>
              <a:gd name="connsiteY1" fmla="*/ 28253 h 6726266"/>
              <a:gd name="connsiteX2" fmla="*/ 5952057 w 5958370"/>
              <a:gd name="connsiteY2" fmla="*/ 6718111 h 6726266"/>
              <a:gd name="connsiteX3" fmla="*/ 0 w 5958370"/>
              <a:gd name="connsiteY3" fmla="*/ 6726266 h 6726266"/>
              <a:gd name="connsiteX4" fmla="*/ 2534640 w 5958370"/>
              <a:gd name="connsiteY4" fmla="*/ 0 h 6726266"/>
              <a:gd name="connsiteX0" fmla="*/ 2574194 w 5958370"/>
              <a:gd name="connsiteY0" fmla="*/ 50857 h 6698013"/>
              <a:gd name="connsiteX1" fmla="*/ 5958370 w 5958370"/>
              <a:gd name="connsiteY1" fmla="*/ 0 h 6698013"/>
              <a:gd name="connsiteX2" fmla="*/ 5952057 w 5958370"/>
              <a:gd name="connsiteY2" fmla="*/ 6689858 h 6698013"/>
              <a:gd name="connsiteX3" fmla="*/ 0 w 5958370"/>
              <a:gd name="connsiteY3" fmla="*/ 6698013 h 6698013"/>
              <a:gd name="connsiteX4" fmla="*/ 2574194 w 5958370"/>
              <a:gd name="connsiteY4" fmla="*/ 50857 h 6698013"/>
              <a:gd name="connsiteX0" fmla="*/ 2534640 w 5958370"/>
              <a:gd name="connsiteY0" fmla="*/ 0 h 6709314"/>
              <a:gd name="connsiteX1" fmla="*/ 5958370 w 5958370"/>
              <a:gd name="connsiteY1" fmla="*/ 11301 h 6709314"/>
              <a:gd name="connsiteX2" fmla="*/ 5952057 w 5958370"/>
              <a:gd name="connsiteY2" fmla="*/ 6701159 h 6709314"/>
              <a:gd name="connsiteX3" fmla="*/ 0 w 5958370"/>
              <a:gd name="connsiteY3" fmla="*/ 6709314 h 6709314"/>
              <a:gd name="connsiteX4" fmla="*/ 2534640 w 5958370"/>
              <a:gd name="connsiteY4" fmla="*/ 0 h 6709314"/>
              <a:gd name="connsiteX0" fmla="*/ 2545942 w 5969672"/>
              <a:gd name="connsiteY0" fmla="*/ 0 h 6701159"/>
              <a:gd name="connsiteX1" fmla="*/ 5969672 w 5969672"/>
              <a:gd name="connsiteY1" fmla="*/ 11301 h 6701159"/>
              <a:gd name="connsiteX2" fmla="*/ 5963359 w 5969672"/>
              <a:gd name="connsiteY2" fmla="*/ 6701159 h 6701159"/>
              <a:gd name="connsiteX3" fmla="*/ 0 w 5969672"/>
              <a:gd name="connsiteY3" fmla="*/ 6698012 h 6701159"/>
              <a:gd name="connsiteX4" fmla="*/ 2545942 w 5969672"/>
              <a:gd name="connsiteY4" fmla="*/ 0 h 6701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69672" h="6701159">
                <a:moveTo>
                  <a:pt x="2545942" y="0"/>
                </a:moveTo>
                <a:lnTo>
                  <a:pt x="5969672" y="11301"/>
                </a:lnTo>
                <a:cubicBezTo>
                  <a:pt x="5961956" y="2299230"/>
                  <a:pt x="5971075" y="4413230"/>
                  <a:pt x="5963359" y="6701159"/>
                </a:cubicBezTo>
                <a:lnTo>
                  <a:pt x="0" y="6698012"/>
                </a:lnTo>
                <a:lnTo>
                  <a:pt x="2545942" y="0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447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EBCB333-58BB-B544-BBAA-8ED40584EC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69781" y="1396800"/>
            <a:ext cx="2744180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E8D5A004-570A-094C-B900-71EF2C9421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070480" y="1808139"/>
            <a:ext cx="2744825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6523" y="1396800"/>
            <a:ext cx="3352990" cy="33140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8927" y="252000"/>
            <a:ext cx="3350585" cy="9054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1" name="Graphic 10">
            <a:extLst>
              <a:ext uri="{FF2B5EF4-FFF2-40B4-BE49-F238E27FC236}">
                <a16:creationId xmlns:a16="http://schemas.microsoft.com/office/drawing/2014/main" id="{B6011187-AA8E-452B-973C-511891D6AD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D6D2B9E-3868-4EC8-B3F9-AFDB67FAB4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75577" y="2121777"/>
            <a:ext cx="274971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Marcador de texto 5">
            <a:extLst>
              <a:ext uri="{FF2B5EF4-FFF2-40B4-BE49-F238E27FC236}">
                <a16:creationId xmlns:a16="http://schemas.microsoft.com/office/drawing/2014/main" id="{4E73268A-D8AC-4A88-8197-ADDA434368F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74543" y="2660364"/>
            <a:ext cx="2744180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26650491-2940-408D-AA73-AEEDDD1C0C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5242" y="3071703"/>
            <a:ext cx="2744825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3A99E160-9CB7-46F7-BFA5-4D8D9B20F9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80339" y="3385341"/>
            <a:ext cx="274971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Marcador de texto 5">
            <a:extLst>
              <a:ext uri="{FF2B5EF4-FFF2-40B4-BE49-F238E27FC236}">
                <a16:creationId xmlns:a16="http://schemas.microsoft.com/office/drawing/2014/main" id="{42EE6536-0BB8-4A6D-9D22-EA3B9FA16FB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74749" y="3910288"/>
            <a:ext cx="2744180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30" name="Marcador de texto 3">
            <a:extLst>
              <a:ext uri="{FF2B5EF4-FFF2-40B4-BE49-F238E27FC236}">
                <a16:creationId xmlns:a16="http://schemas.microsoft.com/office/drawing/2014/main" id="{E53787EC-9BC5-4F7F-9E55-20D2FEB065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75448" y="4321627"/>
            <a:ext cx="2744825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AF5E5ABC-8A90-431B-8681-F770DC35B27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80545" y="4635265"/>
            <a:ext cx="274971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Marcador de texto 5">
            <a:extLst>
              <a:ext uri="{FF2B5EF4-FFF2-40B4-BE49-F238E27FC236}">
                <a16:creationId xmlns:a16="http://schemas.microsoft.com/office/drawing/2014/main" id="{D1EAAC23-31AB-400D-B902-A13EC10EAFD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74955" y="5159695"/>
            <a:ext cx="2744180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33" name="Marcador de texto 3">
            <a:extLst>
              <a:ext uri="{FF2B5EF4-FFF2-40B4-BE49-F238E27FC236}">
                <a16:creationId xmlns:a16="http://schemas.microsoft.com/office/drawing/2014/main" id="{A9BE9442-5EA2-4FE1-814F-10C81CE0E23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75654" y="5571034"/>
            <a:ext cx="2744825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4DD1878A-DCCC-4F22-8B0F-E794A9D0F7E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080751" y="5884672"/>
            <a:ext cx="274971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Marcador de texto 5">
            <a:extLst>
              <a:ext uri="{FF2B5EF4-FFF2-40B4-BE49-F238E27FC236}">
                <a16:creationId xmlns:a16="http://schemas.microsoft.com/office/drawing/2014/main" id="{75583949-C529-4C09-B042-7C3C5F9C9ED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05607" y="1403562"/>
            <a:ext cx="2744180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49" name="Marcador de texto 3">
            <a:extLst>
              <a:ext uri="{FF2B5EF4-FFF2-40B4-BE49-F238E27FC236}">
                <a16:creationId xmlns:a16="http://schemas.microsoft.com/office/drawing/2014/main" id="{63B4B398-881C-4857-8877-82CB89E09DC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00519" y="1814901"/>
            <a:ext cx="2744825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50" name="Text Placeholder 9">
            <a:extLst>
              <a:ext uri="{FF2B5EF4-FFF2-40B4-BE49-F238E27FC236}">
                <a16:creationId xmlns:a16="http://schemas.microsoft.com/office/drawing/2014/main" id="{98DE17F0-A69A-4172-95E4-B494F2D3A6D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05616" y="2128539"/>
            <a:ext cx="274971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Marcador de texto 5">
            <a:extLst>
              <a:ext uri="{FF2B5EF4-FFF2-40B4-BE49-F238E27FC236}">
                <a16:creationId xmlns:a16="http://schemas.microsoft.com/office/drawing/2014/main" id="{914D8FBF-3A87-468E-A40B-AA99D1D5808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04582" y="2667126"/>
            <a:ext cx="2744180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52" name="Marcador de texto 3">
            <a:extLst>
              <a:ext uri="{FF2B5EF4-FFF2-40B4-BE49-F238E27FC236}">
                <a16:creationId xmlns:a16="http://schemas.microsoft.com/office/drawing/2014/main" id="{BD5D359A-AE2C-48D0-B082-CFA49458260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099494" y="3078465"/>
            <a:ext cx="2744825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53" name="Text Placeholder 9">
            <a:extLst>
              <a:ext uri="{FF2B5EF4-FFF2-40B4-BE49-F238E27FC236}">
                <a16:creationId xmlns:a16="http://schemas.microsoft.com/office/drawing/2014/main" id="{CE1082A1-F559-4E25-ADC5-E6999B47F962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04591" y="3392103"/>
            <a:ext cx="274971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Marcador de texto 5">
            <a:extLst>
              <a:ext uri="{FF2B5EF4-FFF2-40B4-BE49-F238E27FC236}">
                <a16:creationId xmlns:a16="http://schemas.microsoft.com/office/drawing/2014/main" id="{72448981-D561-47B3-A524-E6DC7ADEDD2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04788" y="3917050"/>
            <a:ext cx="2744180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55" name="Marcador de texto 3">
            <a:extLst>
              <a:ext uri="{FF2B5EF4-FFF2-40B4-BE49-F238E27FC236}">
                <a16:creationId xmlns:a16="http://schemas.microsoft.com/office/drawing/2014/main" id="{773C2F13-312E-4121-B74D-61A3E51D73C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05487" y="4328389"/>
            <a:ext cx="2744825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56" name="Text Placeholder 9">
            <a:extLst>
              <a:ext uri="{FF2B5EF4-FFF2-40B4-BE49-F238E27FC236}">
                <a16:creationId xmlns:a16="http://schemas.microsoft.com/office/drawing/2014/main" id="{331A76C6-929B-4A03-880B-274526D3ADA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104797" y="4642027"/>
            <a:ext cx="274971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Marcador de texto 5">
            <a:extLst>
              <a:ext uri="{FF2B5EF4-FFF2-40B4-BE49-F238E27FC236}">
                <a16:creationId xmlns:a16="http://schemas.microsoft.com/office/drawing/2014/main" id="{7553EF5A-9391-42F5-8ED9-95A7DE3A354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104994" y="5166457"/>
            <a:ext cx="2744180" cy="374127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58" name="Marcador de texto 3">
            <a:extLst>
              <a:ext uri="{FF2B5EF4-FFF2-40B4-BE49-F238E27FC236}">
                <a16:creationId xmlns:a16="http://schemas.microsoft.com/office/drawing/2014/main" id="{7AE3F577-227A-4C20-BF45-BEF6A92A838C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099906" y="5577796"/>
            <a:ext cx="2744825" cy="320400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</a:t>
            </a:r>
            <a:r>
              <a:rPr lang="es-ES" err="1"/>
              <a:t>relevevant</a:t>
            </a:r>
            <a:r>
              <a:rPr lang="es-ES"/>
              <a:t> figure</a:t>
            </a:r>
            <a:endParaRPr lang="en-GB"/>
          </a:p>
        </p:txBody>
      </p:sp>
      <p:sp>
        <p:nvSpPr>
          <p:cNvPr id="59" name="Text Placeholder 9">
            <a:extLst>
              <a:ext uri="{FF2B5EF4-FFF2-40B4-BE49-F238E27FC236}">
                <a16:creationId xmlns:a16="http://schemas.microsoft.com/office/drawing/2014/main" id="{EDCE2999-CF2A-4AEB-87B8-A725EAC6D702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6105003" y="5891434"/>
            <a:ext cx="2749710" cy="36195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6FF3C82-A032-4626-A55F-54B6BA7A59E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2D10A43-0C1B-4180-A178-FD576C2DA0BA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1A702BE-3B17-4B3F-8E48-4FDCB1B3376B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EDA31E3-283B-4E5D-89EA-3DC2C0FFD32D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7845694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 lin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E587BE-F6AF-499A-812B-F6A5E822BF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733E61F-A2E3-419A-8F67-857EA928B66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777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A45737E-0F71-4DBA-B4EC-BAFD0D60BEF4}"/>
              </a:ext>
            </a:extLst>
          </p:cNvPr>
          <p:cNvCxnSpPr>
            <a:cxnSpLocks/>
          </p:cNvCxnSpPr>
          <p:nvPr userDrawn="1"/>
        </p:nvCxnSpPr>
        <p:spPr>
          <a:xfrm flipV="1">
            <a:off x="-97762" y="3439067"/>
            <a:ext cx="12387524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Marcador de texto 5">
            <a:extLst>
              <a:ext uri="{FF2B5EF4-FFF2-40B4-BE49-F238E27FC236}">
                <a16:creationId xmlns:a16="http://schemas.microsoft.com/office/drawing/2014/main" id="{509D62C0-8146-4813-8C7C-5131B67C408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1474" y="2631363"/>
            <a:ext cx="2227041" cy="37412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8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15" name="Marcador de texto 3">
            <a:extLst>
              <a:ext uri="{FF2B5EF4-FFF2-40B4-BE49-F238E27FC236}">
                <a16:creationId xmlns:a16="http://schemas.microsoft.com/office/drawing/2014/main" id="{4D6FC8DA-5B19-48CA-BC77-7BA6E25751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1871" y="3872645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figur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DBA501E3-D13B-45DB-957E-B15D2A7FE45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4672" y="4210612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texto 5">
            <a:extLst>
              <a:ext uri="{FF2B5EF4-FFF2-40B4-BE49-F238E27FC236}">
                <a16:creationId xmlns:a16="http://schemas.microsoft.com/office/drawing/2014/main" id="{C6039575-3F5F-4A87-BB3D-F2032E7320A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421026" y="3879190"/>
            <a:ext cx="2227041" cy="37412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8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20" name="Marcador de texto 5">
            <a:extLst>
              <a:ext uri="{FF2B5EF4-FFF2-40B4-BE49-F238E27FC236}">
                <a16:creationId xmlns:a16="http://schemas.microsoft.com/office/drawing/2014/main" id="{39970C0F-E84B-4DE3-A4E8-CB31DAD22A2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02101" y="2647750"/>
            <a:ext cx="2227041" cy="37412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8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21" name="Marcador de texto 3">
            <a:extLst>
              <a:ext uri="{FF2B5EF4-FFF2-40B4-BE49-F238E27FC236}">
                <a16:creationId xmlns:a16="http://schemas.microsoft.com/office/drawing/2014/main" id="{5A4CCFE5-0C66-4FDD-B59F-1E53E0614A9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02498" y="3878120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7742AC64-A027-45A4-8ECB-39498CF172C5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505299" y="4216087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Marcador de texto 5">
            <a:extLst>
              <a:ext uri="{FF2B5EF4-FFF2-40B4-BE49-F238E27FC236}">
                <a16:creationId xmlns:a16="http://schemas.microsoft.com/office/drawing/2014/main" id="{58C7D2FF-D07E-4824-ABC6-88E5F22AAFA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93484" y="3879190"/>
            <a:ext cx="2227041" cy="374127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8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#</a:t>
            </a:r>
            <a:endParaRPr lang="en-GB"/>
          </a:p>
        </p:txBody>
      </p:sp>
      <p:sp>
        <p:nvSpPr>
          <p:cNvPr id="26" name="Marcador de texto 3">
            <a:extLst>
              <a:ext uri="{FF2B5EF4-FFF2-40B4-BE49-F238E27FC236}">
                <a16:creationId xmlns:a16="http://schemas.microsoft.com/office/drawing/2014/main" id="{7C86B625-AAFF-400F-BA59-2CDB5907F80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63255" y="2305489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BE5BEF22-5783-4E3B-8A65-82CC583150A8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66056" y="2643541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Marcador de texto 3">
            <a:extLst>
              <a:ext uri="{FF2B5EF4-FFF2-40B4-BE49-F238E27FC236}">
                <a16:creationId xmlns:a16="http://schemas.microsoft.com/office/drawing/2014/main" id="{48429FFF-6B30-451C-95C3-7C60E9781D2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593882" y="2310964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Text </a:t>
            </a:r>
            <a:r>
              <a:rPr lang="es-ES" err="1"/>
              <a:t>for</a:t>
            </a:r>
            <a:r>
              <a:rPr lang="es-ES"/>
              <a:t> figure</a:t>
            </a:r>
            <a:endParaRPr lang="en-GB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D94BD13C-6DF3-4DA5-A07F-9768F0F9AF0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9596683" y="2649016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B6650AD-B4D3-4217-B9DD-AD1D9FF4C047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78D93E8-3726-47BB-899F-4BAAFCA86C46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2D2B328-3A95-49C5-87A5-59D724A85893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A9E65F8-870B-498F-B593-CAEE6D290873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96766969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ess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E587BE-F6AF-499A-812B-F6A5E822BF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4733E61F-A2E3-419A-8F67-857EA928B66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777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4" name="Marcador de texto 5">
            <a:extLst>
              <a:ext uri="{FF2B5EF4-FFF2-40B4-BE49-F238E27FC236}">
                <a16:creationId xmlns:a16="http://schemas.microsoft.com/office/drawing/2014/main" id="{509D62C0-8146-4813-8C7C-5131B67C408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9049" y="4210146"/>
            <a:ext cx="4953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15" name="Marcador de texto 3">
            <a:extLst>
              <a:ext uri="{FF2B5EF4-FFF2-40B4-BE49-F238E27FC236}">
                <a16:creationId xmlns:a16="http://schemas.microsoft.com/office/drawing/2014/main" id="{4D6FC8DA-5B19-48CA-BC77-7BA6E25751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52525" y="3620467"/>
            <a:ext cx="1388349" cy="320398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D200E36-3CA8-45C7-AFCB-DBF275CF01F0}"/>
              </a:ext>
            </a:extLst>
          </p:cNvPr>
          <p:cNvCxnSpPr/>
          <p:nvPr userDrawn="1"/>
        </p:nvCxnSpPr>
        <p:spPr>
          <a:xfrm>
            <a:off x="1299304" y="4370346"/>
            <a:ext cx="18542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Marcador de texto 5">
            <a:extLst>
              <a:ext uri="{FF2B5EF4-FFF2-40B4-BE49-F238E27FC236}">
                <a16:creationId xmlns:a16="http://schemas.microsoft.com/office/drawing/2014/main" id="{2D7DB811-7665-4BF5-8C97-D7668C13ACE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258509" y="4210146"/>
            <a:ext cx="4953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31" name="Marcador de texto 3">
            <a:extLst>
              <a:ext uri="{FF2B5EF4-FFF2-40B4-BE49-F238E27FC236}">
                <a16:creationId xmlns:a16="http://schemas.microsoft.com/office/drawing/2014/main" id="{27876FA5-8964-41A0-A8BD-136BF40832E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25566" y="3620467"/>
            <a:ext cx="1388349" cy="320398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4905BD1-86A9-4409-AFED-838051B1A99B}"/>
              </a:ext>
            </a:extLst>
          </p:cNvPr>
          <p:cNvCxnSpPr/>
          <p:nvPr userDrawn="1"/>
        </p:nvCxnSpPr>
        <p:spPr>
          <a:xfrm>
            <a:off x="3856146" y="4362450"/>
            <a:ext cx="18542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10E7F1FD-52CC-4B8C-A3C1-5E978C671F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8791" y="1396800"/>
            <a:ext cx="11451734" cy="12400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5B51C280-3EB7-406B-836D-8DA5E1830FCF}"/>
              </a:ext>
            </a:extLst>
          </p:cNvPr>
          <p:cNvCxnSpPr/>
          <p:nvPr userDrawn="1"/>
        </p:nvCxnSpPr>
        <p:spPr>
          <a:xfrm>
            <a:off x="6429187" y="4348122"/>
            <a:ext cx="18542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D83DB61-67A2-4F15-BBCF-516AEEE25B45}"/>
              </a:ext>
            </a:extLst>
          </p:cNvPr>
          <p:cNvCxnSpPr/>
          <p:nvPr userDrawn="1"/>
        </p:nvCxnSpPr>
        <p:spPr>
          <a:xfrm>
            <a:off x="8998574" y="4349750"/>
            <a:ext cx="18542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Marcador de texto 5">
            <a:extLst>
              <a:ext uri="{FF2B5EF4-FFF2-40B4-BE49-F238E27FC236}">
                <a16:creationId xmlns:a16="http://schemas.microsoft.com/office/drawing/2014/main" id="{2008D7D2-1808-47F1-8AAE-62518B01CC3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848350" y="4210146"/>
            <a:ext cx="4953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53" name="Marcador de texto 3">
            <a:extLst>
              <a:ext uri="{FF2B5EF4-FFF2-40B4-BE49-F238E27FC236}">
                <a16:creationId xmlns:a16="http://schemas.microsoft.com/office/drawing/2014/main" id="{88C16204-C174-43C4-BB28-9DAC2D32575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15407" y="3620467"/>
            <a:ext cx="1388349" cy="320398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54" name="Marcador de texto 5">
            <a:extLst>
              <a:ext uri="{FF2B5EF4-FFF2-40B4-BE49-F238E27FC236}">
                <a16:creationId xmlns:a16="http://schemas.microsoft.com/office/drawing/2014/main" id="{40C66C69-82C9-4C90-BB4A-C8545B37E88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379774" y="4210146"/>
            <a:ext cx="4953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55" name="Marcador de texto 3">
            <a:extLst>
              <a:ext uri="{FF2B5EF4-FFF2-40B4-BE49-F238E27FC236}">
                <a16:creationId xmlns:a16="http://schemas.microsoft.com/office/drawing/2014/main" id="{722BE844-C92F-4763-84AF-F4C4A8F1ED4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946831" y="3620467"/>
            <a:ext cx="1388349" cy="320398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56" name="Marcador de texto 5">
            <a:extLst>
              <a:ext uri="{FF2B5EF4-FFF2-40B4-BE49-F238E27FC236}">
                <a16:creationId xmlns:a16="http://schemas.microsoft.com/office/drawing/2014/main" id="{FE6823A7-BFA7-4AE7-9188-680F405BFC3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948106" y="4210146"/>
            <a:ext cx="495300" cy="320400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2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57" name="Marcador de texto 3">
            <a:extLst>
              <a:ext uri="{FF2B5EF4-FFF2-40B4-BE49-F238E27FC236}">
                <a16:creationId xmlns:a16="http://schemas.microsoft.com/office/drawing/2014/main" id="{1FDC6618-99C6-41B3-8064-503ED5E5967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515560" y="3620467"/>
            <a:ext cx="1388349" cy="320398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CED1EE1-6879-445F-BCAF-5985760D29E3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93FDA3-B358-4C04-AEEF-F50613B83723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B98246E-2436-48B2-A545-87A1047730C5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7ACF4EB-A139-435B-8B55-1665AAE25031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6323040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3/4 righ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246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0" y="0"/>
            <a:ext cx="37188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399200" y="722639"/>
            <a:ext cx="741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99200" y="1396801"/>
            <a:ext cx="7416000" cy="1240038"/>
          </a:xfrm>
        </p:spPr>
        <p:txBody>
          <a:bodyPr/>
          <a:lstStyle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9200" y="252000"/>
            <a:ext cx="741600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718800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5FF7957-66DF-4AF5-A6A1-EF86C313B74B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2" name="Text Placeholder 12" descr="Body text will be presented like this">
            <a:extLst>
              <a:ext uri="{FF2B5EF4-FFF2-40B4-BE49-F238E27FC236}">
                <a16:creationId xmlns:a16="http://schemas.microsoft.com/office/drawing/2014/main" id="{8EC6BA17-CB59-478E-B795-D23AFC8461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63923" y="3558477"/>
            <a:ext cx="6754593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Marcador de texto 5">
            <a:extLst>
              <a:ext uri="{FF2B5EF4-FFF2-40B4-BE49-F238E27FC236}">
                <a16:creationId xmlns:a16="http://schemas.microsoft.com/office/drawing/2014/main" id="{7F7496EB-4618-4C68-A5B2-6B7F593F47A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63923" y="3191276"/>
            <a:ext cx="6754593" cy="32260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17" name="Text Placeholder 12" descr="Body text will be presented like this">
            <a:extLst>
              <a:ext uri="{FF2B5EF4-FFF2-40B4-BE49-F238E27FC236}">
                <a16:creationId xmlns:a16="http://schemas.microsoft.com/office/drawing/2014/main" id="{AF2B001E-7118-42BA-9C03-EBCFFF37317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063923" y="5102252"/>
            <a:ext cx="6754593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texto 5">
            <a:extLst>
              <a:ext uri="{FF2B5EF4-FFF2-40B4-BE49-F238E27FC236}">
                <a16:creationId xmlns:a16="http://schemas.microsoft.com/office/drawing/2014/main" id="{0623F10C-8B2C-4175-9222-F44C753DDF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063923" y="4735051"/>
            <a:ext cx="6754593" cy="32260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0DE4F07-2C0A-4C2E-A7CB-ABAD42A476B7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1CBCAA8-70D3-4BD2-A62F-B92059DEFA61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0CC4860-2A8E-4842-BFA3-9A84AE89E74E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75C91F8-8AC2-4475-B6A3-A9CE0380D0E6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2618658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D3511B-C5A8-4ED9-BAA0-0D23EFDCE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575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D3511B-C5A8-4ED9-BAA0-0D23EFDCE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467660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3/4 lef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6120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8435975" y="0"/>
            <a:ext cx="3762095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72275" y="722639"/>
            <a:ext cx="741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A15B74D-3758-47B9-82C3-FFA884FCE2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2275" y="1396801"/>
            <a:ext cx="7416000" cy="1240038"/>
          </a:xfrm>
        </p:spPr>
        <p:txBody>
          <a:bodyPr/>
          <a:lstStyle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U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275" y="252000"/>
            <a:ext cx="741600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435975" y="0"/>
            <a:ext cx="3762095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5FF7957-66DF-4AF5-A6A1-EF86C313B74B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2" name="Text Placeholder 12" descr="Body text will be presented like this">
            <a:extLst>
              <a:ext uri="{FF2B5EF4-FFF2-40B4-BE49-F238E27FC236}">
                <a16:creationId xmlns:a16="http://schemas.microsoft.com/office/drawing/2014/main" id="{8EC6BA17-CB59-478E-B795-D23AFC8461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7738" y="3558477"/>
            <a:ext cx="6843853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Marcador de texto 5">
            <a:extLst>
              <a:ext uri="{FF2B5EF4-FFF2-40B4-BE49-F238E27FC236}">
                <a16:creationId xmlns:a16="http://schemas.microsoft.com/office/drawing/2014/main" id="{7F7496EB-4618-4C68-A5B2-6B7F593F47A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7738" y="3191276"/>
            <a:ext cx="6843853" cy="32260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17" name="Text Placeholder 12" descr="Body text will be presented like this">
            <a:extLst>
              <a:ext uri="{FF2B5EF4-FFF2-40B4-BE49-F238E27FC236}">
                <a16:creationId xmlns:a16="http://schemas.microsoft.com/office/drawing/2014/main" id="{AF2B001E-7118-42BA-9C03-EBCFFF37317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7738" y="5102252"/>
            <a:ext cx="6843853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texto 5">
            <a:extLst>
              <a:ext uri="{FF2B5EF4-FFF2-40B4-BE49-F238E27FC236}">
                <a16:creationId xmlns:a16="http://schemas.microsoft.com/office/drawing/2014/main" id="{0623F10C-8B2C-4175-9222-F44C753DDF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7738" y="4735051"/>
            <a:ext cx="6843853" cy="32260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3B2C7D2-4A9F-4E6A-98E8-130508F98C67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F3854B3-C158-4995-918E-5135B93C0E51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6BA0126-C88A-45D3-9F4F-964965D79998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0C4DC54-A200-48AF-AF91-E6B924A6F2E3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41698774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xt 1/3 righ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-1" y="0"/>
            <a:ext cx="4403725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403725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90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771100" y="722639"/>
            <a:ext cx="7044099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1100" y="252000"/>
            <a:ext cx="7044099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35F62136-CD61-4120-ACCD-1F1980E4EBD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589625" y="1399563"/>
            <a:ext cx="2225574" cy="47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E41751-3A54-44D7-B054-DDA2961739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71100" y="1399563"/>
            <a:ext cx="2225574" cy="47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B7DE8D1C-C82F-4DB0-9F49-65C3549A59C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44994" y="1399563"/>
            <a:ext cx="2225574" cy="4752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9553C690-4854-43C5-B086-9B9C36ACFAE5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75DF6E5-AA5A-4A2C-B75D-F78E093DA5AD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1FDF9FC-4338-4C8F-890D-7FE13C1A4FDF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3DF3494-2C49-4289-B3E7-ADA9E577B5D6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993FA82-BEE7-43BC-9B51-DB3764809C4F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59656636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ext 1/2 righ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6096001" y="0"/>
            <a:ext cx="6096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2" y="0"/>
            <a:ext cx="6086574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818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70518" y="722639"/>
            <a:ext cx="540525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518" y="252000"/>
            <a:ext cx="54052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E41751-3A54-44D7-B054-DDA2961739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1475" y="1399564"/>
            <a:ext cx="5404293" cy="1738656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 descr="Body text will be presented like this">
            <a:extLst>
              <a:ext uri="{FF2B5EF4-FFF2-40B4-BE49-F238E27FC236}">
                <a16:creationId xmlns:a16="http://schemas.microsoft.com/office/drawing/2014/main" id="{C1088BCB-9554-4EBB-A099-833C4F7DD3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7738" y="3719781"/>
            <a:ext cx="4828030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texto 5">
            <a:extLst>
              <a:ext uri="{FF2B5EF4-FFF2-40B4-BE49-F238E27FC236}">
                <a16:creationId xmlns:a16="http://schemas.microsoft.com/office/drawing/2014/main" id="{6E67A482-664C-45B5-8E90-D6D80334C8D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7738" y="3352580"/>
            <a:ext cx="4828030" cy="32260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21" name="Text Placeholder 12" descr="Body text will be presented like this">
            <a:extLst>
              <a:ext uri="{FF2B5EF4-FFF2-40B4-BE49-F238E27FC236}">
                <a16:creationId xmlns:a16="http://schemas.microsoft.com/office/drawing/2014/main" id="{D61D985A-8504-4CB2-B6CD-745450D27CA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7738" y="5263556"/>
            <a:ext cx="4828030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Marcador de texto 5">
            <a:extLst>
              <a:ext uri="{FF2B5EF4-FFF2-40B4-BE49-F238E27FC236}">
                <a16:creationId xmlns:a16="http://schemas.microsoft.com/office/drawing/2014/main" id="{FAAA81E0-69A3-4760-8F0C-2469611F9FE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7738" y="4896355"/>
            <a:ext cx="4828030" cy="32260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9078069-8CCE-49CE-AC2B-B07861DC0E32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33D7179-32E7-463D-857B-74EDDC9E2539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474A5DF-57F9-47B2-B194-E1FB67F6D5F1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C83C6E3-978A-4023-A07E-369C03F0566A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60204066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ext 1/2 lef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1588" y="0"/>
            <a:ext cx="6096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6086574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7089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413267" y="722639"/>
            <a:ext cx="540525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267" y="252000"/>
            <a:ext cx="54052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E41751-3A54-44D7-B054-DDA2961739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14224" y="1399564"/>
            <a:ext cx="5404293" cy="1738656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 descr="Body text will be presented like this">
            <a:extLst>
              <a:ext uri="{FF2B5EF4-FFF2-40B4-BE49-F238E27FC236}">
                <a16:creationId xmlns:a16="http://schemas.microsoft.com/office/drawing/2014/main" id="{C1088BCB-9554-4EBB-A099-833C4F7DD3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90487" y="3719781"/>
            <a:ext cx="4828030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texto 5">
            <a:extLst>
              <a:ext uri="{FF2B5EF4-FFF2-40B4-BE49-F238E27FC236}">
                <a16:creationId xmlns:a16="http://schemas.microsoft.com/office/drawing/2014/main" id="{6E67A482-664C-45B5-8E90-D6D80334C8D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90487" y="3352580"/>
            <a:ext cx="4828030" cy="32260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21" name="Text Placeholder 12" descr="Body text will be presented like this">
            <a:extLst>
              <a:ext uri="{FF2B5EF4-FFF2-40B4-BE49-F238E27FC236}">
                <a16:creationId xmlns:a16="http://schemas.microsoft.com/office/drawing/2014/main" id="{D61D985A-8504-4CB2-B6CD-745450D27CA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90487" y="5263556"/>
            <a:ext cx="4828030" cy="872838"/>
          </a:xfrm>
          <a:prstGeom prst="rect">
            <a:avLst/>
          </a:prstGeom>
        </p:spPr>
        <p:txBody>
          <a:bodyPr wrap="square" lIns="0" tIns="0" rIns="0" bIns="0"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400" b="0">
                <a:latin typeface="+mn-lt"/>
              </a:defRPr>
            </a:lvl1pPr>
            <a:lvl2pPr marL="0" indent="0">
              <a:lnSpc>
                <a:spcPct val="120000"/>
              </a:lnSpc>
              <a:defRPr sz="12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Marcador de texto 5">
            <a:extLst>
              <a:ext uri="{FF2B5EF4-FFF2-40B4-BE49-F238E27FC236}">
                <a16:creationId xmlns:a16="http://schemas.microsoft.com/office/drawing/2014/main" id="{FAAA81E0-69A3-4760-8F0C-2469611F9FE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90487" y="4896355"/>
            <a:ext cx="4828030" cy="32260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10000"/>
              </a:lnSpc>
              <a:buNone/>
              <a:defRPr sz="1600" b="1">
                <a:latin typeface="+mj-lt"/>
              </a:defRPr>
            </a:lvl1pPr>
            <a:lvl2pPr indent="0">
              <a:lnSpc>
                <a:spcPct val="110000"/>
              </a:lnSpc>
              <a:buNone/>
              <a:defRPr sz="1000" b="1">
                <a:latin typeface="+mj-lt"/>
              </a:defRPr>
            </a:lvl2pPr>
            <a:lvl3pPr indent="0">
              <a:lnSpc>
                <a:spcPct val="110000"/>
              </a:lnSpc>
              <a:buNone/>
              <a:defRPr sz="1000" b="1">
                <a:latin typeface="+mj-lt"/>
              </a:defRPr>
            </a:lvl3pPr>
            <a:lvl4pPr indent="0">
              <a:lnSpc>
                <a:spcPct val="110000"/>
              </a:lnSpc>
              <a:buNone/>
              <a:defRPr sz="1000" b="1">
                <a:latin typeface="+mj-lt"/>
              </a:defRPr>
            </a:lvl4pPr>
            <a:lvl5pPr indent="0">
              <a:lnSpc>
                <a:spcPct val="110000"/>
              </a:lnSpc>
              <a:buNone/>
              <a:defRPr sz="1000" b="1">
                <a:latin typeface="+mj-lt"/>
              </a:defRPr>
            </a:lvl5pPr>
          </a:lstStyle>
          <a:p>
            <a:pPr lvl="0"/>
            <a:r>
              <a:rPr lang="es-ES" err="1"/>
              <a:t>Title</a:t>
            </a:r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5140101-97EA-4ECF-9329-A2FC5E90F346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8746B6C-EB9A-4FE9-86D4-F3C9E4686CF7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EFFEB34-DC8C-48D3-A44B-077E17C87438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53FB71E-88C9-401C-A002-7B2E116B3E86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48940979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section with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6096001" y="0"/>
            <a:ext cx="6096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1" y="-9397"/>
            <a:ext cx="6107561" cy="6875162"/>
          </a:xfrm>
          <a:custGeom>
            <a:avLst/>
            <a:gdLst>
              <a:gd name="connsiteX0" fmla="*/ 0 w 6086574"/>
              <a:gd name="connsiteY0" fmla="*/ 0 h 6858000"/>
              <a:gd name="connsiteX1" fmla="*/ 6086574 w 6086574"/>
              <a:gd name="connsiteY1" fmla="*/ 0 h 6858000"/>
              <a:gd name="connsiteX2" fmla="*/ 6086574 w 6086574"/>
              <a:gd name="connsiteY2" fmla="*/ 6858000 h 6858000"/>
              <a:gd name="connsiteX3" fmla="*/ 0 w 6086574"/>
              <a:gd name="connsiteY3" fmla="*/ 6858000 h 6858000"/>
              <a:gd name="connsiteX4" fmla="*/ 0 w 6086574"/>
              <a:gd name="connsiteY4" fmla="*/ 0 h 6858000"/>
              <a:gd name="connsiteX0" fmla="*/ 0 w 6108346"/>
              <a:gd name="connsiteY0" fmla="*/ 0 h 6858000"/>
              <a:gd name="connsiteX1" fmla="*/ 6086574 w 6108346"/>
              <a:gd name="connsiteY1" fmla="*/ 0 h 6858000"/>
              <a:gd name="connsiteX2" fmla="*/ 6108346 w 6108346"/>
              <a:gd name="connsiteY2" fmla="*/ 6858000 h 6858000"/>
              <a:gd name="connsiteX3" fmla="*/ 0 w 6108346"/>
              <a:gd name="connsiteY3" fmla="*/ 6858000 h 6858000"/>
              <a:gd name="connsiteX4" fmla="*/ 0 w 6108346"/>
              <a:gd name="connsiteY4" fmla="*/ 0 h 6858000"/>
              <a:gd name="connsiteX0" fmla="*/ 0 w 6108346"/>
              <a:gd name="connsiteY0" fmla="*/ 16329 h 6874329"/>
              <a:gd name="connsiteX1" fmla="*/ 6097459 w 6108346"/>
              <a:gd name="connsiteY1" fmla="*/ 0 h 6874329"/>
              <a:gd name="connsiteX2" fmla="*/ 6108346 w 6108346"/>
              <a:gd name="connsiteY2" fmla="*/ 6874329 h 6874329"/>
              <a:gd name="connsiteX3" fmla="*/ 0 w 6108346"/>
              <a:gd name="connsiteY3" fmla="*/ 6874329 h 6874329"/>
              <a:gd name="connsiteX4" fmla="*/ 0 w 6108346"/>
              <a:gd name="connsiteY4" fmla="*/ 16329 h 6874329"/>
              <a:gd name="connsiteX0" fmla="*/ 0 w 6108346"/>
              <a:gd name="connsiteY0" fmla="*/ 8709 h 6866709"/>
              <a:gd name="connsiteX1" fmla="*/ 6105079 w 6108346"/>
              <a:gd name="connsiteY1" fmla="*/ 0 h 6866709"/>
              <a:gd name="connsiteX2" fmla="*/ 6108346 w 6108346"/>
              <a:gd name="connsiteY2" fmla="*/ 6866709 h 6866709"/>
              <a:gd name="connsiteX3" fmla="*/ 0 w 6108346"/>
              <a:gd name="connsiteY3" fmla="*/ 6866709 h 6866709"/>
              <a:gd name="connsiteX4" fmla="*/ 0 w 6108346"/>
              <a:gd name="connsiteY4" fmla="*/ 8709 h 6866709"/>
              <a:gd name="connsiteX0" fmla="*/ 0 w 6106531"/>
              <a:gd name="connsiteY0" fmla="*/ 8709 h 6866709"/>
              <a:gd name="connsiteX1" fmla="*/ 6105079 w 6106531"/>
              <a:gd name="connsiteY1" fmla="*/ 0 h 6866709"/>
              <a:gd name="connsiteX2" fmla="*/ 6096916 w 6106531"/>
              <a:gd name="connsiteY2" fmla="*/ 6862899 h 6866709"/>
              <a:gd name="connsiteX3" fmla="*/ 0 w 6106531"/>
              <a:gd name="connsiteY3" fmla="*/ 6866709 h 6866709"/>
              <a:gd name="connsiteX4" fmla="*/ 0 w 6106531"/>
              <a:gd name="connsiteY4" fmla="*/ 8709 h 6866709"/>
              <a:gd name="connsiteX0" fmla="*/ 0 w 6106933"/>
              <a:gd name="connsiteY0" fmla="*/ 8709 h 6874474"/>
              <a:gd name="connsiteX1" fmla="*/ 6105079 w 6106933"/>
              <a:gd name="connsiteY1" fmla="*/ 0 h 6874474"/>
              <a:gd name="connsiteX2" fmla="*/ 6102704 w 6106933"/>
              <a:gd name="connsiteY2" fmla="*/ 6874474 h 6874474"/>
              <a:gd name="connsiteX3" fmla="*/ 0 w 6106933"/>
              <a:gd name="connsiteY3" fmla="*/ 6866709 h 6874474"/>
              <a:gd name="connsiteX4" fmla="*/ 0 w 6106933"/>
              <a:gd name="connsiteY4" fmla="*/ 8709 h 6874474"/>
              <a:gd name="connsiteX0" fmla="*/ 0 w 6117848"/>
              <a:gd name="connsiteY0" fmla="*/ 20283 h 6886048"/>
              <a:gd name="connsiteX1" fmla="*/ 6116653 w 6117848"/>
              <a:gd name="connsiteY1" fmla="*/ 0 h 6886048"/>
              <a:gd name="connsiteX2" fmla="*/ 6102704 w 6117848"/>
              <a:gd name="connsiteY2" fmla="*/ 6886048 h 6886048"/>
              <a:gd name="connsiteX3" fmla="*/ 0 w 6117848"/>
              <a:gd name="connsiteY3" fmla="*/ 6878283 h 6886048"/>
              <a:gd name="connsiteX4" fmla="*/ 0 w 6117848"/>
              <a:gd name="connsiteY4" fmla="*/ 20283 h 6886048"/>
              <a:gd name="connsiteX0" fmla="*/ 0 w 6107561"/>
              <a:gd name="connsiteY0" fmla="*/ 9397 h 6875162"/>
              <a:gd name="connsiteX1" fmla="*/ 6105767 w 6107561"/>
              <a:gd name="connsiteY1" fmla="*/ 0 h 6875162"/>
              <a:gd name="connsiteX2" fmla="*/ 6102704 w 6107561"/>
              <a:gd name="connsiteY2" fmla="*/ 6875162 h 6875162"/>
              <a:gd name="connsiteX3" fmla="*/ 0 w 6107561"/>
              <a:gd name="connsiteY3" fmla="*/ 6867397 h 6875162"/>
              <a:gd name="connsiteX4" fmla="*/ 0 w 6107561"/>
              <a:gd name="connsiteY4" fmla="*/ 9397 h 6875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07561" h="6875162">
                <a:moveTo>
                  <a:pt x="0" y="9397"/>
                </a:moveTo>
                <a:lnTo>
                  <a:pt x="6105767" y="0"/>
                </a:lnTo>
                <a:cubicBezTo>
                  <a:pt x="6113024" y="2286000"/>
                  <a:pt x="6095447" y="4589162"/>
                  <a:pt x="6102704" y="6875162"/>
                </a:cubicBezTo>
                <a:lnTo>
                  <a:pt x="0" y="6867397"/>
                </a:lnTo>
                <a:lnTo>
                  <a:pt x="0" y="9397"/>
                </a:lnTo>
                <a:close/>
              </a:path>
            </a:pathLst>
          </a:cu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1361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70518" y="722639"/>
            <a:ext cx="540525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518" y="252000"/>
            <a:ext cx="54052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E41751-3A54-44D7-B054-DDA2961739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1475" y="3173979"/>
            <a:ext cx="5404293" cy="1738656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Marcador de texto 5">
            <a:extLst>
              <a:ext uri="{FF2B5EF4-FFF2-40B4-BE49-F238E27FC236}">
                <a16:creationId xmlns:a16="http://schemas.microsoft.com/office/drawing/2014/main" id="{10718DDE-7E26-4940-95D1-5062B930F8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1475" y="2191553"/>
            <a:ext cx="2463133" cy="7872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1BFABD9-71A4-48AC-B9A0-500C0C30BF49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230991-F8D8-4785-8DDA-F77C8CC87108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B304BAA-175E-417F-8278-A4011D20009B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0A909DC-1B75-4621-AFCC-D3327A7C3D85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81267445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ubsection with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0" y="0"/>
            <a:ext cx="610515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7604" y="0"/>
            <a:ext cx="6113031" cy="6858000"/>
          </a:xfrm>
          <a:custGeom>
            <a:avLst/>
            <a:gdLst>
              <a:gd name="connsiteX0" fmla="*/ 0 w 6086574"/>
              <a:gd name="connsiteY0" fmla="*/ 0 h 6858000"/>
              <a:gd name="connsiteX1" fmla="*/ 6086574 w 6086574"/>
              <a:gd name="connsiteY1" fmla="*/ 0 h 6858000"/>
              <a:gd name="connsiteX2" fmla="*/ 6086574 w 6086574"/>
              <a:gd name="connsiteY2" fmla="*/ 6858000 h 6858000"/>
              <a:gd name="connsiteX3" fmla="*/ 0 w 6086574"/>
              <a:gd name="connsiteY3" fmla="*/ 6858000 h 6858000"/>
              <a:gd name="connsiteX4" fmla="*/ 0 w 6086574"/>
              <a:gd name="connsiteY4" fmla="*/ 0 h 6858000"/>
              <a:gd name="connsiteX0" fmla="*/ 0 w 6086574"/>
              <a:gd name="connsiteY0" fmla="*/ 0 h 6858000"/>
              <a:gd name="connsiteX1" fmla="*/ 6086574 w 6086574"/>
              <a:gd name="connsiteY1" fmla="*/ 0 h 6858000"/>
              <a:gd name="connsiteX2" fmla="*/ 6086574 w 6086574"/>
              <a:gd name="connsiteY2" fmla="*/ 6858000 h 6858000"/>
              <a:gd name="connsiteX3" fmla="*/ 15240 w 6086574"/>
              <a:gd name="connsiteY3" fmla="*/ 6858000 h 6858000"/>
              <a:gd name="connsiteX4" fmla="*/ 0 w 6086574"/>
              <a:gd name="connsiteY4" fmla="*/ 0 h 6858000"/>
              <a:gd name="connsiteX0" fmla="*/ 66040 w 6071334"/>
              <a:gd name="connsiteY0" fmla="*/ 60960 h 6858000"/>
              <a:gd name="connsiteX1" fmla="*/ 6071334 w 6071334"/>
              <a:gd name="connsiteY1" fmla="*/ 0 h 6858000"/>
              <a:gd name="connsiteX2" fmla="*/ 6071334 w 6071334"/>
              <a:gd name="connsiteY2" fmla="*/ 6858000 h 6858000"/>
              <a:gd name="connsiteX3" fmla="*/ 0 w 6071334"/>
              <a:gd name="connsiteY3" fmla="*/ 6858000 h 6858000"/>
              <a:gd name="connsiteX4" fmla="*/ 66040 w 6071334"/>
              <a:gd name="connsiteY4" fmla="*/ 60960 h 6858000"/>
              <a:gd name="connsiteX0" fmla="*/ 0 w 6158836"/>
              <a:gd name="connsiteY0" fmla="*/ 0 h 6858000"/>
              <a:gd name="connsiteX1" fmla="*/ 6158836 w 6158836"/>
              <a:gd name="connsiteY1" fmla="*/ 0 h 6858000"/>
              <a:gd name="connsiteX2" fmla="*/ 6158836 w 6158836"/>
              <a:gd name="connsiteY2" fmla="*/ 6858000 h 6858000"/>
              <a:gd name="connsiteX3" fmla="*/ 87502 w 6158836"/>
              <a:gd name="connsiteY3" fmla="*/ 6858000 h 6858000"/>
              <a:gd name="connsiteX4" fmla="*/ 0 w 6158836"/>
              <a:gd name="connsiteY4" fmla="*/ 0 h 6858000"/>
              <a:gd name="connsiteX0" fmla="*/ 0 w 6158836"/>
              <a:gd name="connsiteY0" fmla="*/ 0 h 6858000"/>
              <a:gd name="connsiteX1" fmla="*/ 6158836 w 6158836"/>
              <a:gd name="connsiteY1" fmla="*/ 0 h 6858000"/>
              <a:gd name="connsiteX2" fmla="*/ 6158836 w 6158836"/>
              <a:gd name="connsiteY2" fmla="*/ 6858000 h 6858000"/>
              <a:gd name="connsiteX3" fmla="*/ 5613 w 6158836"/>
              <a:gd name="connsiteY3" fmla="*/ 6858000 h 6858000"/>
              <a:gd name="connsiteX4" fmla="*/ 0 w 6158836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58836" h="6858000">
                <a:moveTo>
                  <a:pt x="0" y="0"/>
                </a:moveTo>
                <a:lnTo>
                  <a:pt x="6158836" y="0"/>
                </a:lnTo>
                <a:lnTo>
                  <a:pt x="6158836" y="6858000"/>
                </a:lnTo>
                <a:lnTo>
                  <a:pt x="5613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1164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413267" y="722639"/>
            <a:ext cx="540525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267" y="252000"/>
            <a:ext cx="54052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E41751-3A54-44D7-B054-DDA2961739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14224" y="3173979"/>
            <a:ext cx="5404293" cy="1738656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Marcador de texto 5">
            <a:extLst>
              <a:ext uri="{FF2B5EF4-FFF2-40B4-BE49-F238E27FC236}">
                <a16:creationId xmlns:a16="http://schemas.microsoft.com/office/drawing/2014/main" id="{10718DDE-7E26-4940-95D1-5062B930F8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14224" y="2191553"/>
            <a:ext cx="2463133" cy="7872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B30A2B8-192E-41D0-8A86-311B915A8384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11632D0-25BC-485A-823B-161E4396D7B3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E07A2AF-C33E-459B-ADD5-015501CE194C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709EBA-A293-4867-8520-D1E2DCE22AA4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57421422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 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6096001" y="0"/>
            <a:ext cx="294116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6" name="Rectángulo 1">
            <a:extLst>
              <a:ext uri="{FF2B5EF4-FFF2-40B4-BE49-F238E27FC236}">
                <a16:creationId xmlns:a16="http://schemas.microsoft.com/office/drawing/2014/main" id="{73B0E165-7117-4FDF-B257-8A783A9175B2}"/>
              </a:ext>
            </a:extLst>
          </p:cNvPr>
          <p:cNvSpPr/>
          <p:nvPr userDrawn="1"/>
        </p:nvSpPr>
        <p:spPr>
          <a:xfrm>
            <a:off x="9250841" y="0"/>
            <a:ext cx="294116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2" y="0"/>
            <a:ext cx="294115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7535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70518" y="722639"/>
            <a:ext cx="540525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518" y="252000"/>
            <a:ext cx="54052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E41751-3A54-44D7-B054-DDA2961739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1475" y="1393825"/>
            <a:ext cx="5259609" cy="4757738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Marcador de posición de imagen 2">
            <a:extLst>
              <a:ext uri="{FF2B5EF4-FFF2-40B4-BE49-F238E27FC236}">
                <a16:creationId xmlns:a16="http://schemas.microsoft.com/office/drawing/2014/main" id="{14EBE46E-BB97-40AB-9515-9DE1117E2A2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250841" y="0"/>
            <a:ext cx="294115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7C1DA8-3C80-4F24-A118-B1456D302ABE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2FDE649-CAB0-4851-87E3-8CD95EF5F389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7A32E8-1A3A-4DF3-8875-C2D17FC6B633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4CC4757-52E1-40BE-855A-D3523CFBF85E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16689775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 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3176" y="0"/>
            <a:ext cx="294116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6" name="Rectángulo 1">
            <a:extLst>
              <a:ext uri="{FF2B5EF4-FFF2-40B4-BE49-F238E27FC236}">
                <a16:creationId xmlns:a16="http://schemas.microsoft.com/office/drawing/2014/main" id="{73B0E165-7117-4FDF-B257-8A783A9175B2}"/>
              </a:ext>
            </a:extLst>
          </p:cNvPr>
          <p:cNvSpPr/>
          <p:nvPr userDrawn="1"/>
        </p:nvSpPr>
        <p:spPr>
          <a:xfrm>
            <a:off x="3158016" y="0"/>
            <a:ext cx="294116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177" y="0"/>
            <a:ext cx="294115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7008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413267" y="722639"/>
            <a:ext cx="540525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3267" y="252000"/>
            <a:ext cx="54052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E41751-3A54-44D7-B054-DDA2961739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14224" y="1393825"/>
            <a:ext cx="5404293" cy="4757738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Marcador de posición de imagen 2">
            <a:extLst>
              <a:ext uri="{FF2B5EF4-FFF2-40B4-BE49-F238E27FC236}">
                <a16:creationId xmlns:a16="http://schemas.microsoft.com/office/drawing/2014/main" id="{14EBE46E-BB97-40AB-9515-9DE1117E2A2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158016" y="0"/>
            <a:ext cx="2941159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F83C9EE-0D26-4B07-A8F5-61D66DA452F2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D9E82E2-8933-4ADD-8C06-F262F2F839EC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362C08-751D-4493-8368-ED545957D433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1A47E10-1B50-467E-BF6B-3B43AAFF2909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35378225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ubsection with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id="{BF29E734-210D-BC45-815B-FC427C40A195}"/>
              </a:ext>
            </a:extLst>
          </p:cNvPr>
          <p:cNvSpPr/>
          <p:nvPr userDrawn="1"/>
        </p:nvSpPr>
        <p:spPr>
          <a:xfrm>
            <a:off x="-7838" y="0"/>
            <a:ext cx="6096000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4" name="Marcador de posición de imagen 2">
            <a:extLst>
              <a:ext uri="{FF2B5EF4-FFF2-40B4-BE49-F238E27FC236}">
                <a16:creationId xmlns:a16="http://schemas.microsoft.com/office/drawing/2014/main" id="{263E57D1-5D12-4810-ABBA-4AD821FCD2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7838" y="0"/>
            <a:ext cx="6096000" cy="6858000"/>
          </a:xfrm>
          <a:prstGeom prst="rect">
            <a:avLst/>
          </a:prstGeom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8526C9-16E3-4A1D-828A-4692734F0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7521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8526C9-16E3-4A1D-828A-4692734F0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B2B384D-A05A-4439-838E-B66DA57DCB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5" name="Marcador de texto 2">
            <a:extLst>
              <a:ext uri="{FF2B5EF4-FFF2-40B4-BE49-F238E27FC236}">
                <a16:creationId xmlns:a16="http://schemas.microsoft.com/office/drawing/2014/main" id="{B0631F3F-D69C-4938-9C2D-8DBA1DF60BB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415275" y="722639"/>
            <a:ext cx="540525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CuadroTexto 64">
            <a:extLst>
              <a:ext uri="{FF2B5EF4-FFF2-40B4-BE49-F238E27FC236}">
                <a16:creationId xmlns:a16="http://schemas.microsoft.com/office/drawing/2014/main" id="{7EEFB272-44BD-4440-81FD-B5BE8200048F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65B48A6-C16F-42F8-ABA4-E292AD3A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5275" y="252000"/>
            <a:ext cx="5405250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4" name="Graphic 10">
            <a:extLst>
              <a:ext uri="{FF2B5EF4-FFF2-40B4-BE49-F238E27FC236}">
                <a16:creationId xmlns:a16="http://schemas.microsoft.com/office/drawing/2014/main" id="{76EEEB64-79A9-4166-8CB0-4B981D78109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21E41751-3A54-44D7-B054-DDA29617390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14224" y="3173979"/>
            <a:ext cx="5404293" cy="1738656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Marcador de texto 5">
            <a:extLst>
              <a:ext uri="{FF2B5EF4-FFF2-40B4-BE49-F238E27FC236}">
                <a16:creationId xmlns:a16="http://schemas.microsoft.com/office/drawing/2014/main" id="{10718DDE-7E26-4940-95D1-5062B930F8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27934" y="2191553"/>
            <a:ext cx="2463133" cy="787206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6000" b="1">
                <a:solidFill>
                  <a:schemeClr val="accent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s-ES"/>
              <a:t>#</a:t>
            </a:r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AE7C7B8-191F-429A-A8C5-3023FCE6EDF0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457D5F3-81F9-4AE1-8968-4C37B7224C54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F619BDB-3394-4547-BB09-FB00D19F0E74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5EA662-CFE6-4ABC-99EB-15E69BC71908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417319106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ACC5AA-949F-4568-A7A2-68F951095A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C1194D8-9C07-42A4-8770-937BB97EE18B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1" y="722639"/>
            <a:ext cx="777600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5" name="Marcador de posición de imagen 2">
            <a:extLst>
              <a:ext uri="{FF2B5EF4-FFF2-40B4-BE49-F238E27FC236}">
                <a16:creationId xmlns:a16="http://schemas.microsoft.com/office/drawing/2014/main" id="{B8047554-68A8-4A25-8A8E-5521C623855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71474" y="1971856"/>
            <a:ext cx="3347325" cy="12372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client logo here</a:t>
            </a:r>
          </a:p>
        </p:txBody>
      </p:sp>
      <p:sp>
        <p:nvSpPr>
          <p:cNvPr id="6" name="Marcador de posición de imagen 2">
            <a:extLst>
              <a:ext uri="{FF2B5EF4-FFF2-40B4-BE49-F238E27FC236}">
                <a16:creationId xmlns:a16="http://schemas.microsoft.com/office/drawing/2014/main" id="{58CA0082-9DA6-485D-9D8D-290A774584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417537" y="1971856"/>
            <a:ext cx="3370738" cy="12372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client logo here</a:t>
            </a:r>
          </a:p>
        </p:txBody>
      </p:sp>
      <p:sp>
        <p:nvSpPr>
          <p:cNvPr id="8" name="Marcador de posición de imagen 2">
            <a:extLst>
              <a:ext uri="{FF2B5EF4-FFF2-40B4-BE49-F238E27FC236}">
                <a16:creationId xmlns:a16="http://schemas.microsoft.com/office/drawing/2014/main" id="{89F21956-4998-442B-A3C4-9C3B52C1B89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444462" y="1971856"/>
            <a:ext cx="3370738" cy="12372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client logo here</a:t>
            </a:r>
          </a:p>
        </p:txBody>
      </p:sp>
      <p:sp>
        <p:nvSpPr>
          <p:cNvPr id="9" name="Marcador de posición de imagen 2">
            <a:extLst>
              <a:ext uri="{FF2B5EF4-FFF2-40B4-BE49-F238E27FC236}">
                <a16:creationId xmlns:a16="http://schemas.microsoft.com/office/drawing/2014/main" id="{289A5EEB-795F-462A-B1C1-C5513C87A0C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6799" y="3781324"/>
            <a:ext cx="3347325" cy="12372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client logo here</a:t>
            </a:r>
          </a:p>
        </p:txBody>
      </p:sp>
      <p:sp>
        <p:nvSpPr>
          <p:cNvPr id="10" name="Marcador de posición de imagen 2">
            <a:extLst>
              <a:ext uri="{FF2B5EF4-FFF2-40B4-BE49-F238E27FC236}">
                <a16:creationId xmlns:a16="http://schemas.microsoft.com/office/drawing/2014/main" id="{F9907DE7-A9A4-43E1-8603-767CDA87B9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22862" y="3781324"/>
            <a:ext cx="3370738" cy="12372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client logo here</a:t>
            </a:r>
          </a:p>
        </p:txBody>
      </p:sp>
      <p:sp>
        <p:nvSpPr>
          <p:cNvPr id="11" name="Marcador de posición de imagen 2">
            <a:extLst>
              <a:ext uri="{FF2B5EF4-FFF2-40B4-BE49-F238E27FC236}">
                <a16:creationId xmlns:a16="http://schemas.microsoft.com/office/drawing/2014/main" id="{715A367D-3A19-4613-A602-0E3E913F398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449787" y="3781324"/>
            <a:ext cx="3370738" cy="12372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2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Insert client logo her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51D43D1-EDB8-4617-9195-9A772A76094A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6BA317E-69D7-45F4-8F8E-70C4165EB3FA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34C6D53-4186-4C01-B4E8-7B4358245932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C93D94-5680-416F-9D35-777E1C5379CD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0442152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8840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4B4FC7D-4393-4A68-A6C5-568B02850E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1592263"/>
            <a:ext cx="5148261" cy="2334072"/>
          </a:xfrm>
        </p:spPr>
        <p:txBody>
          <a:bodyPr anchor="b"/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7DF24BF0-C3D8-4A33-9A94-03CE8CC973C2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947739" y="4093103"/>
            <a:ext cx="5148261" cy="171238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FFFFFF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4" name="CuadroTexto 64">
            <a:extLst>
              <a:ext uri="{FF2B5EF4-FFF2-40B4-BE49-F238E27FC236}">
                <a16:creationId xmlns:a16="http://schemas.microsoft.com/office/drawing/2014/main" id="{CC2249F8-C077-487B-9BA3-4B911902A356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Marcador de posición de imagen 2">
            <a:extLst>
              <a:ext uri="{FF2B5EF4-FFF2-40B4-BE49-F238E27FC236}">
                <a16:creationId xmlns:a16="http://schemas.microsoft.com/office/drawing/2014/main" id="{6C35D55E-7563-4493-B483-B85E0BB97F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38529" y="-14050"/>
            <a:ext cx="5670915" cy="6877222"/>
          </a:xfrm>
          <a:custGeom>
            <a:avLst/>
            <a:gdLst>
              <a:gd name="connsiteX0" fmla="*/ 0 w 4592124"/>
              <a:gd name="connsiteY0" fmla="*/ 0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0 w 4592124"/>
              <a:gd name="connsiteY4" fmla="*/ 0 h 6858000"/>
              <a:gd name="connsiteX0" fmla="*/ 2549525 w 4592124"/>
              <a:gd name="connsiteY0" fmla="*/ 1058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2549525 w 4592124"/>
              <a:gd name="connsiteY4" fmla="*/ 1058 h 6858000"/>
              <a:gd name="connsiteX0" fmla="*/ 2549525 w 4592124"/>
              <a:gd name="connsiteY0" fmla="*/ 0 h 6856942"/>
              <a:gd name="connsiteX1" fmla="*/ 4592124 w 4592124"/>
              <a:gd name="connsiteY1" fmla="*/ 1371762 h 6856942"/>
              <a:gd name="connsiteX2" fmla="*/ 4592124 w 4592124"/>
              <a:gd name="connsiteY2" fmla="*/ 6856942 h 6856942"/>
              <a:gd name="connsiteX3" fmla="*/ 0 w 4592124"/>
              <a:gd name="connsiteY3" fmla="*/ 6856942 h 6856942"/>
              <a:gd name="connsiteX4" fmla="*/ 2549525 w 4592124"/>
              <a:gd name="connsiteY4" fmla="*/ 0 h 6856942"/>
              <a:gd name="connsiteX0" fmla="*/ 2045812 w 4592124"/>
              <a:gd name="connsiteY0" fmla="*/ 1058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45812 w 4592124"/>
              <a:gd name="connsiteY4" fmla="*/ 1058 h 5485180"/>
              <a:gd name="connsiteX0" fmla="*/ 2028628 w 4592124"/>
              <a:gd name="connsiteY0" fmla="*/ 36027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28628 w 4592124"/>
              <a:gd name="connsiteY4" fmla="*/ 36027 h 5485180"/>
              <a:gd name="connsiteX0" fmla="*/ 2028628 w 4592124"/>
              <a:gd name="connsiteY0" fmla="*/ 4509 h 5453662"/>
              <a:gd name="connsiteX1" fmla="*/ 4568296 w 4592124"/>
              <a:gd name="connsiteY1" fmla="*/ 0 h 5453662"/>
              <a:gd name="connsiteX2" fmla="*/ 4592124 w 4592124"/>
              <a:gd name="connsiteY2" fmla="*/ 5453662 h 5453662"/>
              <a:gd name="connsiteX3" fmla="*/ 0 w 4592124"/>
              <a:gd name="connsiteY3" fmla="*/ 5453662 h 5453662"/>
              <a:gd name="connsiteX4" fmla="*/ 2028628 w 4592124"/>
              <a:gd name="connsiteY4" fmla="*/ 4509 h 5453662"/>
              <a:gd name="connsiteX0" fmla="*/ 2028628 w 4743341"/>
              <a:gd name="connsiteY0" fmla="*/ 4509 h 5460656"/>
              <a:gd name="connsiteX1" fmla="*/ 4568296 w 4743341"/>
              <a:gd name="connsiteY1" fmla="*/ 0 h 5460656"/>
              <a:gd name="connsiteX2" fmla="*/ 4743341 w 4743341"/>
              <a:gd name="connsiteY2" fmla="*/ 5460656 h 5460656"/>
              <a:gd name="connsiteX3" fmla="*/ 0 w 4743341"/>
              <a:gd name="connsiteY3" fmla="*/ 5453662 h 5460656"/>
              <a:gd name="connsiteX4" fmla="*/ 2028628 w 4743341"/>
              <a:gd name="connsiteY4" fmla="*/ 4509 h 5460656"/>
              <a:gd name="connsiteX0" fmla="*/ 2028628 w 4760755"/>
              <a:gd name="connsiteY0" fmla="*/ 4509 h 5460656"/>
              <a:gd name="connsiteX1" fmla="*/ 4760755 w 4760755"/>
              <a:gd name="connsiteY1" fmla="*/ 0 h 5460656"/>
              <a:gd name="connsiteX2" fmla="*/ 4743341 w 4760755"/>
              <a:gd name="connsiteY2" fmla="*/ 5460656 h 5460656"/>
              <a:gd name="connsiteX3" fmla="*/ 0 w 4760755"/>
              <a:gd name="connsiteY3" fmla="*/ 5453662 h 5460656"/>
              <a:gd name="connsiteX4" fmla="*/ 2028628 w 4760755"/>
              <a:gd name="connsiteY4" fmla="*/ 4509 h 5460656"/>
              <a:gd name="connsiteX0" fmla="*/ 2042201 w 4774328"/>
              <a:gd name="connsiteY0" fmla="*/ 4509 h 5467473"/>
              <a:gd name="connsiteX1" fmla="*/ 4774328 w 4774328"/>
              <a:gd name="connsiteY1" fmla="*/ 0 h 5467473"/>
              <a:gd name="connsiteX2" fmla="*/ 4756914 w 4774328"/>
              <a:gd name="connsiteY2" fmla="*/ 5460656 h 5467473"/>
              <a:gd name="connsiteX3" fmla="*/ 0 w 4774328"/>
              <a:gd name="connsiteY3" fmla="*/ 5467473 h 5467473"/>
              <a:gd name="connsiteX4" fmla="*/ 2042201 w 4774328"/>
              <a:gd name="connsiteY4" fmla="*/ 4509 h 5467473"/>
              <a:gd name="connsiteX0" fmla="*/ 2042201 w 4774328"/>
              <a:gd name="connsiteY0" fmla="*/ 4509 h 5474466"/>
              <a:gd name="connsiteX1" fmla="*/ 4774328 w 4774328"/>
              <a:gd name="connsiteY1" fmla="*/ 0 h 5474466"/>
              <a:gd name="connsiteX2" fmla="*/ 4765962 w 4774328"/>
              <a:gd name="connsiteY2" fmla="*/ 5474466 h 5474466"/>
              <a:gd name="connsiteX3" fmla="*/ 0 w 4774328"/>
              <a:gd name="connsiteY3" fmla="*/ 5467473 h 5474466"/>
              <a:gd name="connsiteX4" fmla="*/ 2042201 w 4774328"/>
              <a:gd name="connsiteY4" fmla="*/ 4509 h 5474466"/>
              <a:gd name="connsiteX0" fmla="*/ 2042201 w 4778853"/>
              <a:gd name="connsiteY0" fmla="*/ 0 h 5469957"/>
              <a:gd name="connsiteX1" fmla="*/ 4778853 w 4778853"/>
              <a:gd name="connsiteY1" fmla="*/ 4698 h 5469957"/>
              <a:gd name="connsiteX2" fmla="*/ 4765962 w 4778853"/>
              <a:gd name="connsiteY2" fmla="*/ 5469957 h 5469957"/>
              <a:gd name="connsiteX3" fmla="*/ 0 w 4778853"/>
              <a:gd name="connsiteY3" fmla="*/ 5462964 h 5469957"/>
              <a:gd name="connsiteX4" fmla="*/ 2042201 w 4778853"/>
              <a:gd name="connsiteY4" fmla="*/ 0 h 5469957"/>
              <a:gd name="connsiteX0" fmla="*/ 2042201 w 4781135"/>
              <a:gd name="connsiteY0" fmla="*/ 0 h 5462964"/>
              <a:gd name="connsiteX1" fmla="*/ 4778853 w 4781135"/>
              <a:gd name="connsiteY1" fmla="*/ 4698 h 5462964"/>
              <a:gd name="connsiteX2" fmla="*/ 4779535 w 4781135"/>
              <a:gd name="connsiteY2" fmla="*/ 5460751 h 5462964"/>
              <a:gd name="connsiteX3" fmla="*/ 0 w 4781135"/>
              <a:gd name="connsiteY3" fmla="*/ 5462964 h 5462964"/>
              <a:gd name="connsiteX4" fmla="*/ 2042201 w 4781135"/>
              <a:gd name="connsiteY4" fmla="*/ 0 h 5462964"/>
              <a:gd name="connsiteX0" fmla="*/ 2046725 w 4781135"/>
              <a:gd name="connsiteY0" fmla="*/ 0 h 5467567"/>
              <a:gd name="connsiteX1" fmla="*/ 4778853 w 4781135"/>
              <a:gd name="connsiteY1" fmla="*/ 9301 h 5467567"/>
              <a:gd name="connsiteX2" fmla="*/ 4779535 w 4781135"/>
              <a:gd name="connsiteY2" fmla="*/ 5465354 h 5467567"/>
              <a:gd name="connsiteX3" fmla="*/ 0 w 4781135"/>
              <a:gd name="connsiteY3" fmla="*/ 5467567 h 5467567"/>
              <a:gd name="connsiteX4" fmla="*/ 2046725 w 4781135"/>
              <a:gd name="connsiteY4" fmla="*/ 0 h 5467567"/>
              <a:gd name="connsiteX0" fmla="*/ 2046725 w 4779604"/>
              <a:gd name="connsiteY0" fmla="*/ 2821 h 5470388"/>
              <a:gd name="connsiteX1" fmla="*/ 4433343 w 4779604"/>
              <a:gd name="connsiteY1" fmla="*/ 0 h 5470388"/>
              <a:gd name="connsiteX2" fmla="*/ 4779535 w 4779604"/>
              <a:gd name="connsiteY2" fmla="*/ 5468175 h 5470388"/>
              <a:gd name="connsiteX3" fmla="*/ 0 w 4779604"/>
              <a:gd name="connsiteY3" fmla="*/ 5470388 h 5470388"/>
              <a:gd name="connsiteX4" fmla="*/ 2046725 w 4779604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3343" h="5470388">
                <a:moveTo>
                  <a:pt x="2046725" y="2821"/>
                </a:moveTo>
                <a:lnTo>
                  <a:pt x="4433343" y="0"/>
                </a:lnTo>
                <a:cubicBezTo>
                  <a:pt x="4427538" y="1820219"/>
                  <a:pt x="4431887" y="3647956"/>
                  <a:pt x="4426082" y="5468175"/>
                </a:cubicBezTo>
                <a:lnTo>
                  <a:pt x="0" y="5470388"/>
                </a:lnTo>
                <a:lnTo>
                  <a:pt x="2046725" y="2821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9B3FDCE-92B0-4D77-90B6-4ABEC757158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3BE0114-44D3-492A-9611-99D541051A5A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A55E4F-FC1E-4ED4-9C8D-40175F4569F6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B124D-9D1E-42DC-8736-6E41F2C0EAA8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26110217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creen Mock 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1">
            <a:extLst>
              <a:ext uri="{FF2B5EF4-FFF2-40B4-BE49-F238E27FC236}">
                <a16:creationId xmlns:a16="http://schemas.microsoft.com/office/drawing/2014/main" id="{09D36D77-E84A-4443-AE6A-B66BB6340CB0}"/>
              </a:ext>
            </a:extLst>
          </p:cNvPr>
          <p:cNvSpPr/>
          <p:nvPr userDrawn="1"/>
        </p:nvSpPr>
        <p:spPr>
          <a:xfrm>
            <a:off x="-7838" y="0"/>
            <a:ext cx="12199838" cy="26368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11C2339C-4F0F-4229-868D-EA06EE2ABB4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871" y="4798620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968167E-03C0-40CB-A0AA-D4B01F77458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4672" y="5113608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Marcador de texto 3">
            <a:extLst>
              <a:ext uri="{FF2B5EF4-FFF2-40B4-BE49-F238E27FC236}">
                <a16:creationId xmlns:a16="http://schemas.microsoft.com/office/drawing/2014/main" id="{74BFD1CF-4E09-4A9C-B27A-9D5AC094404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590683" y="4804031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9E7F47C-1F45-43AD-91BE-0E123ECF9C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593484" y="5119019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texto 3">
            <a:extLst>
              <a:ext uri="{FF2B5EF4-FFF2-40B4-BE49-F238E27FC236}">
                <a16:creationId xmlns:a16="http://schemas.microsoft.com/office/drawing/2014/main" id="{E75E755B-551F-41D2-BD2E-92EB287673E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479022" y="4804031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60A8A25-6B12-4703-83EF-E18353DE132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481823" y="5119019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1AADA4C3-E6F3-4B58-92B3-3612A9D8612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473979" y="4809442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A53B84E-7A43-40E1-A41F-784C475CCE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476780" y="5124430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1204B2F-883E-407D-A005-BF7BABD9854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41D98CE-B011-4356-A502-CD246FD3262F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5ACD5AF-C214-49BF-B81B-7E30A84FF64B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A85B380-9EFF-48A6-BCF3-88DC8CD46D85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7188636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creen Mock 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ángulo 1">
            <a:extLst>
              <a:ext uri="{FF2B5EF4-FFF2-40B4-BE49-F238E27FC236}">
                <a16:creationId xmlns:a16="http://schemas.microsoft.com/office/drawing/2014/main" id="{09D36D77-E84A-4443-AE6A-B66BB6340CB0}"/>
              </a:ext>
            </a:extLst>
          </p:cNvPr>
          <p:cNvSpPr/>
          <p:nvPr userDrawn="1"/>
        </p:nvSpPr>
        <p:spPr>
          <a:xfrm rot="-300000">
            <a:off x="-134184" y="-535618"/>
            <a:ext cx="12373879" cy="2688648"/>
          </a:xfrm>
          <a:custGeom>
            <a:avLst/>
            <a:gdLst>
              <a:gd name="connsiteX0" fmla="*/ 0 w 12316995"/>
              <a:gd name="connsiteY0" fmla="*/ 0 h 2636838"/>
              <a:gd name="connsiteX1" fmla="*/ 12316995 w 12316995"/>
              <a:gd name="connsiteY1" fmla="*/ 0 h 2636838"/>
              <a:gd name="connsiteX2" fmla="*/ 12316995 w 12316995"/>
              <a:gd name="connsiteY2" fmla="*/ 2636838 h 2636838"/>
              <a:gd name="connsiteX3" fmla="*/ 0 w 12316995"/>
              <a:gd name="connsiteY3" fmla="*/ 2636838 h 2636838"/>
              <a:gd name="connsiteX4" fmla="*/ 0 w 12316995"/>
              <a:gd name="connsiteY4" fmla="*/ 0 h 2636838"/>
              <a:gd name="connsiteX0" fmla="*/ 291720 w 12316995"/>
              <a:gd name="connsiteY0" fmla="*/ 0 h 3165979"/>
              <a:gd name="connsiteX1" fmla="*/ 12316995 w 12316995"/>
              <a:gd name="connsiteY1" fmla="*/ 529141 h 3165979"/>
              <a:gd name="connsiteX2" fmla="*/ 12316995 w 12316995"/>
              <a:gd name="connsiteY2" fmla="*/ 3165979 h 3165979"/>
              <a:gd name="connsiteX3" fmla="*/ 0 w 12316995"/>
              <a:gd name="connsiteY3" fmla="*/ 3165979 h 3165979"/>
              <a:gd name="connsiteX4" fmla="*/ 291720 w 12316995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316995 w 12427262"/>
              <a:gd name="connsiteY2" fmla="*/ 3165979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27262"/>
              <a:gd name="connsiteY0" fmla="*/ 0 h 3165979"/>
              <a:gd name="connsiteX1" fmla="*/ 12427262 w 12427262"/>
              <a:gd name="connsiteY1" fmla="*/ 1061639 h 3165979"/>
              <a:gd name="connsiteX2" fmla="*/ 12259342 w 12427262"/>
              <a:gd name="connsiteY2" fmla="*/ 3160935 h 3165979"/>
              <a:gd name="connsiteX3" fmla="*/ 0 w 12427262"/>
              <a:gd name="connsiteY3" fmla="*/ 3165979 h 3165979"/>
              <a:gd name="connsiteX4" fmla="*/ 291720 w 12427262"/>
              <a:gd name="connsiteY4" fmla="*/ 0 h 3165979"/>
              <a:gd name="connsiteX0" fmla="*/ 291720 w 12432323"/>
              <a:gd name="connsiteY0" fmla="*/ 0 h 3165979"/>
              <a:gd name="connsiteX1" fmla="*/ 12432323 w 12432323"/>
              <a:gd name="connsiteY1" fmla="*/ 1062082 h 3165979"/>
              <a:gd name="connsiteX2" fmla="*/ 12259342 w 12432323"/>
              <a:gd name="connsiteY2" fmla="*/ 3160935 h 3165979"/>
              <a:gd name="connsiteX3" fmla="*/ 0 w 12432323"/>
              <a:gd name="connsiteY3" fmla="*/ 3165979 h 3165979"/>
              <a:gd name="connsiteX4" fmla="*/ 291720 w 12432323"/>
              <a:gd name="connsiteY4" fmla="*/ 0 h 3165979"/>
              <a:gd name="connsiteX0" fmla="*/ 282042 w 12432323"/>
              <a:gd name="connsiteY0" fmla="*/ 0 h 3171925"/>
              <a:gd name="connsiteX1" fmla="*/ 12432323 w 12432323"/>
              <a:gd name="connsiteY1" fmla="*/ 1068028 h 3171925"/>
              <a:gd name="connsiteX2" fmla="*/ 12259342 w 12432323"/>
              <a:gd name="connsiteY2" fmla="*/ 3166881 h 3171925"/>
              <a:gd name="connsiteX3" fmla="*/ 0 w 12432323"/>
              <a:gd name="connsiteY3" fmla="*/ 3171925 h 3171925"/>
              <a:gd name="connsiteX4" fmla="*/ 282042 w 12432323"/>
              <a:gd name="connsiteY4" fmla="*/ 0 h 3171925"/>
              <a:gd name="connsiteX0" fmla="*/ 223598 w 12373879"/>
              <a:gd name="connsiteY0" fmla="*/ 0 h 3166881"/>
              <a:gd name="connsiteX1" fmla="*/ 12373879 w 12373879"/>
              <a:gd name="connsiteY1" fmla="*/ 1068028 h 3166881"/>
              <a:gd name="connsiteX2" fmla="*/ 12200898 w 12373879"/>
              <a:gd name="connsiteY2" fmla="*/ 3166881 h 3166881"/>
              <a:gd name="connsiteX3" fmla="*/ 0 w 12373879"/>
              <a:gd name="connsiteY3" fmla="*/ 2503916 h 3166881"/>
              <a:gd name="connsiteX4" fmla="*/ 223598 w 12373879"/>
              <a:gd name="connsiteY4" fmla="*/ 0 h 3166881"/>
              <a:gd name="connsiteX0" fmla="*/ 223598 w 12373879"/>
              <a:gd name="connsiteY0" fmla="*/ 0 h 2688648"/>
              <a:gd name="connsiteX1" fmla="*/ 12373879 w 12373879"/>
              <a:gd name="connsiteY1" fmla="*/ 1068028 h 2688648"/>
              <a:gd name="connsiteX2" fmla="*/ 12242738 w 12373879"/>
              <a:gd name="connsiteY2" fmla="*/ 2688648 h 2688648"/>
              <a:gd name="connsiteX3" fmla="*/ 0 w 12373879"/>
              <a:gd name="connsiteY3" fmla="*/ 2503916 h 2688648"/>
              <a:gd name="connsiteX4" fmla="*/ 223598 w 12373879"/>
              <a:gd name="connsiteY4" fmla="*/ 0 h 2688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73879" h="2688648">
                <a:moveTo>
                  <a:pt x="223598" y="0"/>
                </a:moveTo>
                <a:lnTo>
                  <a:pt x="12373879" y="1068028"/>
                </a:lnTo>
                <a:lnTo>
                  <a:pt x="12242738" y="2688648"/>
                </a:lnTo>
                <a:lnTo>
                  <a:pt x="0" y="2503916"/>
                </a:lnTo>
                <a:lnTo>
                  <a:pt x="223598" y="0"/>
                </a:lnTo>
                <a:close/>
              </a:path>
            </a:pathLst>
          </a:custGeom>
          <a:gradFill>
            <a:gsLst>
              <a:gs pos="2400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11C2339C-4F0F-4229-868D-EA06EE2ABB4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871" y="4798620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968167E-03C0-40CB-A0AA-D4B01F77458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4672" y="5113608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Marcador de texto 3">
            <a:extLst>
              <a:ext uri="{FF2B5EF4-FFF2-40B4-BE49-F238E27FC236}">
                <a16:creationId xmlns:a16="http://schemas.microsoft.com/office/drawing/2014/main" id="{74BFD1CF-4E09-4A9C-B27A-9D5AC094404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590683" y="4804031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9E7F47C-1F45-43AD-91BE-0E123ECF9C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593484" y="5119019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Marcador de texto 3">
            <a:extLst>
              <a:ext uri="{FF2B5EF4-FFF2-40B4-BE49-F238E27FC236}">
                <a16:creationId xmlns:a16="http://schemas.microsoft.com/office/drawing/2014/main" id="{E75E755B-551F-41D2-BD2E-92EB287673E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479022" y="4804031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60A8A25-6B12-4703-83EF-E18353DE132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481823" y="5119019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1AADA4C3-E6F3-4B58-92B3-3612A9D8612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473979" y="4809442"/>
            <a:ext cx="2219893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A53B84E-7A43-40E1-A41F-784C475CCE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476780" y="5124430"/>
            <a:ext cx="2223844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6276DCB-98B4-4B48-A68D-91F554255343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F468FF0-8FEB-42CF-9416-596AA5896A06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19A9F7E-2D71-4F94-8040-2D1E6EFAD6A0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9CCA70D-E76E-4E9E-B7C5-57DE3F9CD704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3621056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creen Mock 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11C2339C-4F0F-4229-868D-EA06EE2ABB4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871" y="3731820"/>
            <a:ext cx="2432289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968167E-03C0-40CB-A0AA-D4B01F77458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4672" y="4046808"/>
            <a:ext cx="2436618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1AADA4C3-E6F3-4B58-92B3-3612A9D8612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588759" y="3742642"/>
            <a:ext cx="2504440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A53B84E-7A43-40E1-A41F-784C475CCEF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591764" y="4057630"/>
            <a:ext cx="2508898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A6DD89D5-9351-401E-8801-E9E0619F7C6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916043" y="1929192"/>
            <a:ext cx="4293295" cy="270884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ress the icon to add a picture</a:t>
            </a:r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F82B3E85-BA15-4769-B721-60401C1237F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4672" y="5094225"/>
            <a:ext cx="2432289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622973B-EB21-493F-AC5A-FC6B237E72B4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77473" y="5409213"/>
            <a:ext cx="2436618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Marcador de texto 3">
            <a:extLst>
              <a:ext uri="{FF2B5EF4-FFF2-40B4-BE49-F238E27FC236}">
                <a16:creationId xmlns:a16="http://schemas.microsoft.com/office/drawing/2014/main" id="{EF97F695-D66E-4518-9D4E-8D483A4B0A4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591560" y="5105047"/>
            <a:ext cx="2504440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8D347E31-039D-430D-8B72-0FC485788C6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594565" y="5420035"/>
            <a:ext cx="2508898" cy="361949"/>
          </a:xfrm>
        </p:spPr>
        <p:txBody>
          <a:bodyPr/>
          <a:lstStyle>
            <a:lvl1pPr algn="ctr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Marcador de texto 2">
            <a:extLst>
              <a:ext uri="{FF2B5EF4-FFF2-40B4-BE49-F238E27FC236}">
                <a16:creationId xmlns:a16="http://schemas.microsoft.com/office/drawing/2014/main" id="{85FC4A55-CAFB-4125-9A84-91BA6BAAD73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70517" y="722639"/>
            <a:ext cx="11450007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3" name="Title 8">
            <a:extLst>
              <a:ext uri="{FF2B5EF4-FFF2-40B4-BE49-F238E27FC236}">
                <a16:creationId xmlns:a16="http://schemas.microsoft.com/office/drawing/2014/main" id="{AECD8FAC-3AF3-43EB-BC98-7AF716BD2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517" y="252000"/>
            <a:ext cx="11450007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E18B091A-F5A5-48BA-9498-2B9DADC9E44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1475" y="1399564"/>
            <a:ext cx="5724525" cy="1738656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22A22CA-A59E-43A1-BDD5-0E749668308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0130961-FC0F-408F-8206-4FA9B9CFCADD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9A64599-9E1E-4B1A-A332-A4C0FEC21997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911A4A3-9068-4D45-B1AA-B018463FD469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54789393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creen Mock U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11C2339C-4F0F-4229-868D-EA06EE2ABB4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871" y="4627196"/>
            <a:ext cx="2432289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9" name="Marcador de texto 3">
            <a:extLst>
              <a:ext uri="{FF2B5EF4-FFF2-40B4-BE49-F238E27FC236}">
                <a16:creationId xmlns:a16="http://schemas.microsoft.com/office/drawing/2014/main" id="{1AADA4C3-E6F3-4B58-92B3-3612A9D8612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310087" y="4638018"/>
            <a:ext cx="2504440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7" name="Marcador de texto 3">
            <a:extLst>
              <a:ext uri="{FF2B5EF4-FFF2-40B4-BE49-F238E27FC236}">
                <a16:creationId xmlns:a16="http://schemas.microsoft.com/office/drawing/2014/main" id="{F82B3E85-BA15-4769-B721-60401C1237F5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4672" y="5789576"/>
            <a:ext cx="2432289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30" name="Marcador de texto 3">
            <a:extLst>
              <a:ext uri="{FF2B5EF4-FFF2-40B4-BE49-F238E27FC236}">
                <a16:creationId xmlns:a16="http://schemas.microsoft.com/office/drawing/2014/main" id="{EF97F695-D66E-4518-9D4E-8D483A4B0A4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312888" y="5800398"/>
            <a:ext cx="2504440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32" name="Marcador de texto 2">
            <a:extLst>
              <a:ext uri="{FF2B5EF4-FFF2-40B4-BE49-F238E27FC236}">
                <a16:creationId xmlns:a16="http://schemas.microsoft.com/office/drawing/2014/main" id="{85FC4A55-CAFB-4125-9A84-91BA6BAAD73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70517" y="722639"/>
            <a:ext cx="11450007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3" name="Title 8">
            <a:extLst>
              <a:ext uri="{FF2B5EF4-FFF2-40B4-BE49-F238E27FC236}">
                <a16:creationId xmlns:a16="http://schemas.microsoft.com/office/drawing/2014/main" id="{AECD8FAC-3AF3-43EB-BC98-7AF716BD2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517" y="252000"/>
            <a:ext cx="11450007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E18B091A-F5A5-48BA-9498-2B9DADC9E44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1475" y="1399564"/>
            <a:ext cx="11449049" cy="1237274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Marcador de texto 3">
            <a:extLst>
              <a:ext uri="{FF2B5EF4-FFF2-40B4-BE49-F238E27FC236}">
                <a16:creationId xmlns:a16="http://schemas.microsoft.com/office/drawing/2014/main" id="{59A96C03-4158-458D-8652-890E50F8BBED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77869" y="3448902"/>
            <a:ext cx="2432289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7" name="Marcador de texto 3">
            <a:extLst>
              <a:ext uri="{FF2B5EF4-FFF2-40B4-BE49-F238E27FC236}">
                <a16:creationId xmlns:a16="http://schemas.microsoft.com/office/drawing/2014/main" id="{52C1C7B7-D568-4B6F-BB4C-4BBC03CD2D5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9316085" y="3459724"/>
            <a:ext cx="2504440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1" name="Picture Placeholder 27">
            <a:extLst>
              <a:ext uri="{FF2B5EF4-FFF2-40B4-BE49-F238E27FC236}">
                <a16:creationId xmlns:a16="http://schemas.microsoft.com/office/drawing/2014/main" id="{6ACEBDA2-4AFD-4B02-8924-6168C184C44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995073" y="3759141"/>
            <a:ext cx="4188808" cy="3100340"/>
          </a:xfr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Press the icon to add a picture</a:t>
            </a:r>
          </a:p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C20BBD9-A5E0-44AB-AC5F-E2A7B2480C0B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7A1BB1-95EC-4C96-8312-70F030F08C45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FDBB2C6-0F37-45B8-98D0-7DE9E3A6012B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873937B-C3E2-419E-B52C-EFB082FC1D4B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43002935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bg>
      <p:bgPr>
        <a:gradFill>
          <a:gsLst>
            <a:gs pos="0">
              <a:schemeClr val="accent1"/>
            </a:gs>
            <a:gs pos="100000">
              <a:schemeClr val="accent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6EEC91-FAE8-4ABD-9FB4-C659BE817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782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6EEC91-FAE8-4ABD-9FB4-C659BE817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>
            <a:extLst>
              <a:ext uri="{FF2B5EF4-FFF2-40B4-BE49-F238E27FC236}">
                <a16:creationId xmlns:a16="http://schemas.microsoft.com/office/drawing/2014/main" id="{588F6A14-7494-EC4A-867C-864E07DD2DF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500" y="532355"/>
            <a:ext cx="2412941" cy="591595"/>
          </a:xfrm>
          <a:prstGeom prst="rect">
            <a:avLst/>
          </a:prstGeom>
        </p:spPr>
      </p:pic>
      <p:sp>
        <p:nvSpPr>
          <p:cNvPr id="16" name="Título 1">
            <a:extLst>
              <a:ext uri="{FF2B5EF4-FFF2-40B4-BE49-F238E27FC236}">
                <a16:creationId xmlns:a16="http://schemas.microsoft.com/office/drawing/2014/main" id="{5AA3C8B9-7162-4D6C-AA6C-7DFFC38AFC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27496"/>
            <a:ext cx="9144000" cy="677108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4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es-E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E16D09-B50F-49D3-9890-32CDE491179B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8077B31-7589-4F46-8022-30057D5345F2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619344-FE0F-44CA-9811-7CDC969750D5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C95EE11-5D93-48EA-AB2A-C71B3C6FC35F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13833430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- with COntact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Marcador de texto 3">
            <a:extLst>
              <a:ext uri="{FF2B5EF4-FFF2-40B4-BE49-F238E27FC236}">
                <a16:creationId xmlns:a16="http://schemas.microsoft.com/office/drawing/2014/main" id="{11C2339C-4F0F-4229-868D-EA06EE2ABB4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931898" y="2136122"/>
            <a:ext cx="3161302" cy="320399"/>
          </a:xfrm>
          <a:prstGeom prst="rect">
            <a:avLst/>
          </a:prstGeom>
        </p:spPr>
        <p:txBody>
          <a:bodyPr lIns="0" tIns="0" rIns="0" bIns="0"/>
          <a:lstStyle>
            <a:lvl1pPr algn="l">
              <a:buNone/>
              <a:defRPr sz="1800" b="1">
                <a:solidFill>
                  <a:schemeClr val="tx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968167E-03C0-40CB-A0AA-D4B01F77458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934698" y="2472883"/>
            <a:ext cx="3166928" cy="361949"/>
          </a:xfrm>
        </p:spPr>
        <p:txBody>
          <a:bodyPr/>
          <a:lstStyle>
            <a:lvl1pPr algn="l"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Marcador de texto 2">
            <a:extLst>
              <a:ext uri="{FF2B5EF4-FFF2-40B4-BE49-F238E27FC236}">
                <a16:creationId xmlns:a16="http://schemas.microsoft.com/office/drawing/2014/main" id="{85FC4A55-CAFB-4125-9A84-91BA6BAAD731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70517" y="722639"/>
            <a:ext cx="11450007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3" name="Title 8">
            <a:extLst>
              <a:ext uri="{FF2B5EF4-FFF2-40B4-BE49-F238E27FC236}">
                <a16:creationId xmlns:a16="http://schemas.microsoft.com/office/drawing/2014/main" id="{AECD8FAC-3AF3-43EB-BC98-7AF716BD2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517" y="252000"/>
            <a:ext cx="11450007" cy="43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22A22CA-A59E-43A1-BDD5-0E749668308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0130961-FC0F-408F-8206-4FA9B9CFCADD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9A64599-9E1E-4B1A-A332-A4C0FEC21997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911A4A3-9068-4D45-B1AA-B018463FD469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ángulo 1">
            <a:extLst>
              <a:ext uri="{FF2B5EF4-FFF2-40B4-BE49-F238E27FC236}">
                <a16:creationId xmlns:a16="http://schemas.microsoft.com/office/drawing/2014/main" id="{FDCEEA5F-15DA-47AD-BA15-4F01CD0CD14E}"/>
              </a:ext>
            </a:extLst>
          </p:cNvPr>
          <p:cNvSpPr/>
          <p:nvPr userDrawn="1"/>
        </p:nvSpPr>
        <p:spPr>
          <a:xfrm>
            <a:off x="6547911" y="-5081"/>
            <a:ext cx="5669541" cy="6872077"/>
          </a:xfrm>
          <a:custGeom>
            <a:avLst/>
            <a:gdLst>
              <a:gd name="connsiteX0" fmla="*/ 0 w 3267919"/>
              <a:gd name="connsiteY0" fmla="*/ 0 h 6858000"/>
              <a:gd name="connsiteX1" fmla="*/ 3267919 w 3267919"/>
              <a:gd name="connsiteY1" fmla="*/ 0 h 6858000"/>
              <a:gd name="connsiteX2" fmla="*/ 3267919 w 3267919"/>
              <a:gd name="connsiteY2" fmla="*/ 6858000 h 6858000"/>
              <a:gd name="connsiteX3" fmla="*/ 0 w 3267919"/>
              <a:gd name="connsiteY3" fmla="*/ 6858000 h 6858000"/>
              <a:gd name="connsiteX4" fmla="*/ 0 w 3267919"/>
              <a:gd name="connsiteY4" fmla="*/ 0 h 6858000"/>
              <a:gd name="connsiteX0" fmla="*/ 2835797 w 6103716"/>
              <a:gd name="connsiteY0" fmla="*/ 0 h 6858000"/>
              <a:gd name="connsiteX1" fmla="*/ 6103716 w 6103716"/>
              <a:gd name="connsiteY1" fmla="*/ 0 h 6858000"/>
              <a:gd name="connsiteX2" fmla="*/ 6103716 w 6103716"/>
              <a:gd name="connsiteY2" fmla="*/ 6858000 h 6858000"/>
              <a:gd name="connsiteX3" fmla="*/ 0 w 6103716"/>
              <a:gd name="connsiteY3" fmla="*/ 6858000 h 6858000"/>
              <a:gd name="connsiteX4" fmla="*/ 2835797 w 6103716"/>
              <a:gd name="connsiteY4" fmla="*/ 0 h 6858000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6103716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835797 w 7255397"/>
              <a:gd name="connsiteY0" fmla="*/ 5788 h 6863788"/>
              <a:gd name="connsiteX1" fmla="*/ 7255397 w 7255397"/>
              <a:gd name="connsiteY1" fmla="*/ 0 h 6863788"/>
              <a:gd name="connsiteX2" fmla="*/ 7232248 w 7255397"/>
              <a:gd name="connsiteY2" fmla="*/ 6863788 h 6863788"/>
              <a:gd name="connsiteX3" fmla="*/ 0 w 7255397"/>
              <a:gd name="connsiteY3" fmla="*/ 6863788 h 6863788"/>
              <a:gd name="connsiteX4" fmla="*/ 2835797 w 7255397"/>
              <a:gd name="connsiteY4" fmla="*/ 5788 h 6863788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7006541"/>
              <a:gd name="connsiteY0" fmla="*/ 5788 h 6869576"/>
              <a:gd name="connsiteX1" fmla="*/ 7006541 w 7006541"/>
              <a:gd name="connsiteY1" fmla="*/ 0 h 6869576"/>
              <a:gd name="connsiteX2" fmla="*/ 6983392 w 7006541"/>
              <a:gd name="connsiteY2" fmla="*/ 6863788 h 6869576"/>
              <a:gd name="connsiteX3" fmla="*/ 0 w 7006541"/>
              <a:gd name="connsiteY3" fmla="*/ 6869576 h 6869576"/>
              <a:gd name="connsiteX4" fmla="*/ 2586941 w 7006541"/>
              <a:gd name="connsiteY4" fmla="*/ 5788 h 6869576"/>
              <a:gd name="connsiteX0" fmla="*/ 2586941 w 6983416"/>
              <a:gd name="connsiteY0" fmla="*/ 0 h 6863788"/>
              <a:gd name="connsiteX1" fmla="*/ 5148805 w 6983416"/>
              <a:gd name="connsiteY1" fmla="*/ 0 h 6863788"/>
              <a:gd name="connsiteX2" fmla="*/ 6983392 w 6983416"/>
              <a:gd name="connsiteY2" fmla="*/ 6858000 h 6863788"/>
              <a:gd name="connsiteX3" fmla="*/ 0 w 6983416"/>
              <a:gd name="connsiteY3" fmla="*/ 6863788 h 6863788"/>
              <a:gd name="connsiteX4" fmla="*/ 2586941 w 6983416"/>
              <a:gd name="connsiteY4" fmla="*/ 0 h 6863788"/>
              <a:gd name="connsiteX0" fmla="*/ 2586941 w 6983421"/>
              <a:gd name="connsiteY0" fmla="*/ 0 h 6863788"/>
              <a:gd name="connsiteX1" fmla="*/ 5513407 w 6983421"/>
              <a:gd name="connsiteY1" fmla="*/ 0 h 6863788"/>
              <a:gd name="connsiteX2" fmla="*/ 6983392 w 6983421"/>
              <a:gd name="connsiteY2" fmla="*/ 6858000 h 6863788"/>
              <a:gd name="connsiteX3" fmla="*/ 0 w 6983421"/>
              <a:gd name="connsiteY3" fmla="*/ 6863788 h 6863788"/>
              <a:gd name="connsiteX4" fmla="*/ 2586941 w 6983421"/>
              <a:gd name="connsiteY4" fmla="*/ 0 h 6863788"/>
              <a:gd name="connsiteX0" fmla="*/ 2586941 w 5513407"/>
              <a:gd name="connsiteY0" fmla="*/ 0 h 6869575"/>
              <a:gd name="connsiteX1" fmla="*/ 5513407 w 5513407"/>
              <a:gd name="connsiteY1" fmla="*/ 0 h 6869575"/>
              <a:gd name="connsiteX2" fmla="*/ 5183529 w 5513407"/>
              <a:gd name="connsiteY2" fmla="*/ 6869575 h 6869575"/>
              <a:gd name="connsiteX3" fmla="*/ 0 w 5513407"/>
              <a:gd name="connsiteY3" fmla="*/ 6863788 h 6869575"/>
              <a:gd name="connsiteX4" fmla="*/ 2586941 w 5513407"/>
              <a:gd name="connsiteY4" fmla="*/ 0 h 6869575"/>
              <a:gd name="connsiteX0" fmla="*/ 2586941 w 5513407"/>
              <a:gd name="connsiteY0" fmla="*/ 0 h 6863788"/>
              <a:gd name="connsiteX1" fmla="*/ 5513407 w 5513407"/>
              <a:gd name="connsiteY1" fmla="*/ 0 h 6863788"/>
              <a:gd name="connsiteX2" fmla="*/ 5496045 w 5513407"/>
              <a:gd name="connsiteY2" fmla="*/ 6829064 h 6863788"/>
              <a:gd name="connsiteX3" fmla="*/ 0 w 5513407"/>
              <a:gd name="connsiteY3" fmla="*/ 6863788 h 6863788"/>
              <a:gd name="connsiteX4" fmla="*/ 2586941 w 5513407"/>
              <a:gd name="connsiteY4" fmla="*/ 0 h 6863788"/>
              <a:gd name="connsiteX0" fmla="*/ 2586941 w 5520913"/>
              <a:gd name="connsiteY0" fmla="*/ 0 h 6863788"/>
              <a:gd name="connsiteX1" fmla="*/ 5513407 w 5520913"/>
              <a:gd name="connsiteY1" fmla="*/ 0 h 6863788"/>
              <a:gd name="connsiteX2" fmla="*/ 5519195 w 5520913"/>
              <a:gd name="connsiteY2" fmla="*/ 6840638 h 6863788"/>
              <a:gd name="connsiteX3" fmla="*/ 0 w 5520913"/>
              <a:gd name="connsiteY3" fmla="*/ 6863788 h 6863788"/>
              <a:gd name="connsiteX4" fmla="*/ 2586941 w 5520913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86941 w 5543249"/>
              <a:gd name="connsiteY0" fmla="*/ 0 h 6863788"/>
              <a:gd name="connsiteX1" fmla="*/ 5513407 w 5543249"/>
              <a:gd name="connsiteY1" fmla="*/ 0 h 6863788"/>
              <a:gd name="connsiteX2" fmla="*/ 5542344 w 5543249"/>
              <a:gd name="connsiteY2" fmla="*/ 6852213 h 6863788"/>
              <a:gd name="connsiteX3" fmla="*/ 0 w 5543249"/>
              <a:gd name="connsiteY3" fmla="*/ 6863788 h 6863788"/>
              <a:gd name="connsiteX4" fmla="*/ 2586941 w 5543249"/>
              <a:gd name="connsiteY4" fmla="*/ 0 h 6863788"/>
              <a:gd name="connsiteX0" fmla="*/ 2552723 w 5509031"/>
              <a:gd name="connsiteY0" fmla="*/ 0 h 6852213"/>
              <a:gd name="connsiteX1" fmla="*/ 5479189 w 5509031"/>
              <a:gd name="connsiteY1" fmla="*/ 0 h 6852213"/>
              <a:gd name="connsiteX2" fmla="*/ 5508126 w 5509031"/>
              <a:gd name="connsiteY2" fmla="*/ 6852213 h 6852213"/>
              <a:gd name="connsiteX3" fmla="*/ 0 w 5509031"/>
              <a:gd name="connsiteY3" fmla="*/ 6789649 h 6852213"/>
              <a:gd name="connsiteX4" fmla="*/ 2552723 w 5509031"/>
              <a:gd name="connsiteY4" fmla="*/ 0 h 6852213"/>
              <a:gd name="connsiteX0" fmla="*/ 2552723 w 5494413"/>
              <a:gd name="connsiteY0" fmla="*/ 0 h 6789649"/>
              <a:gd name="connsiteX1" fmla="*/ 5479189 w 5494413"/>
              <a:gd name="connsiteY1" fmla="*/ 0 h 6789649"/>
              <a:gd name="connsiteX2" fmla="*/ 5493109 w 5494413"/>
              <a:gd name="connsiteY2" fmla="*/ 6606924 h 6789649"/>
              <a:gd name="connsiteX3" fmla="*/ 0 w 5494413"/>
              <a:gd name="connsiteY3" fmla="*/ 6789649 h 6789649"/>
              <a:gd name="connsiteX4" fmla="*/ 2552723 w 5494413"/>
              <a:gd name="connsiteY4" fmla="*/ 0 h 6789649"/>
              <a:gd name="connsiteX0" fmla="*/ 2552723 w 5479189"/>
              <a:gd name="connsiteY0" fmla="*/ 0 h 6789649"/>
              <a:gd name="connsiteX1" fmla="*/ 5479189 w 5479189"/>
              <a:gd name="connsiteY1" fmla="*/ 0 h 6789649"/>
              <a:gd name="connsiteX2" fmla="*/ 5433038 w 5479189"/>
              <a:gd name="connsiteY2" fmla="*/ 6757102 h 6789649"/>
              <a:gd name="connsiteX3" fmla="*/ 0 w 5479189"/>
              <a:gd name="connsiteY3" fmla="*/ 6789649 h 6789649"/>
              <a:gd name="connsiteX4" fmla="*/ 2552723 w 5479189"/>
              <a:gd name="connsiteY4" fmla="*/ 0 h 6789649"/>
              <a:gd name="connsiteX0" fmla="*/ 2552723 w 6003412"/>
              <a:gd name="connsiteY0" fmla="*/ 0 h 6789649"/>
              <a:gd name="connsiteX1" fmla="*/ 5479189 w 6003412"/>
              <a:gd name="connsiteY1" fmla="*/ 0 h 6789649"/>
              <a:gd name="connsiteX2" fmla="*/ 6003331 w 6003412"/>
              <a:gd name="connsiteY2" fmla="*/ 6762805 h 6789649"/>
              <a:gd name="connsiteX3" fmla="*/ 0 w 6003412"/>
              <a:gd name="connsiteY3" fmla="*/ 6789649 h 6789649"/>
              <a:gd name="connsiteX4" fmla="*/ 2552723 w 6003412"/>
              <a:gd name="connsiteY4" fmla="*/ 0 h 6789649"/>
              <a:gd name="connsiteX0" fmla="*/ 2564128 w 6014817"/>
              <a:gd name="connsiteY0" fmla="*/ 0 h 6766838"/>
              <a:gd name="connsiteX1" fmla="*/ 5490594 w 6014817"/>
              <a:gd name="connsiteY1" fmla="*/ 0 h 6766838"/>
              <a:gd name="connsiteX2" fmla="*/ 6014736 w 6014817"/>
              <a:gd name="connsiteY2" fmla="*/ 6762805 h 6766838"/>
              <a:gd name="connsiteX3" fmla="*/ 0 w 6014817"/>
              <a:gd name="connsiteY3" fmla="*/ 6766838 h 6766838"/>
              <a:gd name="connsiteX4" fmla="*/ 2564128 w 6014817"/>
              <a:gd name="connsiteY4" fmla="*/ 0 h 6766838"/>
              <a:gd name="connsiteX0" fmla="*/ 2564128 w 6020966"/>
              <a:gd name="connsiteY0" fmla="*/ 0 h 6766838"/>
              <a:gd name="connsiteX1" fmla="*/ 6020966 w 6020966"/>
              <a:gd name="connsiteY1" fmla="*/ 0 h 6766838"/>
              <a:gd name="connsiteX2" fmla="*/ 6014736 w 6020966"/>
              <a:gd name="connsiteY2" fmla="*/ 6762805 h 6766838"/>
              <a:gd name="connsiteX3" fmla="*/ 0 w 6020966"/>
              <a:gd name="connsiteY3" fmla="*/ 6766838 h 6766838"/>
              <a:gd name="connsiteX4" fmla="*/ 2564128 w 6020966"/>
              <a:gd name="connsiteY4" fmla="*/ 0 h 6766838"/>
              <a:gd name="connsiteX0" fmla="*/ 2564128 w 6022729"/>
              <a:gd name="connsiteY0" fmla="*/ 0 h 6766838"/>
              <a:gd name="connsiteX1" fmla="*/ 6020966 w 6022729"/>
              <a:gd name="connsiteY1" fmla="*/ 0 h 6766838"/>
              <a:gd name="connsiteX2" fmla="*/ 6020440 w 6022729"/>
              <a:gd name="connsiteY2" fmla="*/ 6757103 h 6766838"/>
              <a:gd name="connsiteX3" fmla="*/ 0 w 6022729"/>
              <a:gd name="connsiteY3" fmla="*/ 6766838 h 6766838"/>
              <a:gd name="connsiteX4" fmla="*/ 2564128 w 6022729"/>
              <a:gd name="connsiteY4" fmla="*/ 0 h 6766838"/>
              <a:gd name="connsiteX0" fmla="*/ 2564128 w 6020537"/>
              <a:gd name="connsiteY0" fmla="*/ 0 h 6766838"/>
              <a:gd name="connsiteX1" fmla="*/ 5581840 w 6020537"/>
              <a:gd name="connsiteY1" fmla="*/ 0 h 6766838"/>
              <a:gd name="connsiteX2" fmla="*/ 6020440 w 6020537"/>
              <a:gd name="connsiteY2" fmla="*/ 6757103 h 6766838"/>
              <a:gd name="connsiteX3" fmla="*/ 0 w 6020537"/>
              <a:gd name="connsiteY3" fmla="*/ 6766838 h 6766838"/>
              <a:gd name="connsiteX4" fmla="*/ 2564128 w 6020537"/>
              <a:gd name="connsiteY4" fmla="*/ 0 h 6766838"/>
              <a:gd name="connsiteX0" fmla="*/ 2564128 w 5581840"/>
              <a:gd name="connsiteY0" fmla="*/ 0 h 6768508"/>
              <a:gd name="connsiteX1" fmla="*/ 5581840 w 5581840"/>
              <a:gd name="connsiteY1" fmla="*/ 0 h 6768508"/>
              <a:gd name="connsiteX2" fmla="*/ 5147893 w 5581840"/>
              <a:gd name="connsiteY2" fmla="*/ 6768508 h 6768508"/>
              <a:gd name="connsiteX3" fmla="*/ 0 w 5581840"/>
              <a:gd name="connsiteY3" fmla="*/ 6766838 h 6768508"/>
              <a:gd name="connsiteX4" fmla="*/ 2564128 w 5581840"/>
              <a:gd name="connsiteY4" fmla="*/ 0 h 6768508"/>
              <a:gd name="connsiteX0" fmla="*/ 2564128 w 5581840"/>
              <a:gd name="connsiteY0" fmla="*/ 0 h 6766838"/>
              <a:gd name="connsiteX1" fmla="*/ 5581840 w 5581840"/>
              <a:gd name="connsiteY1" fmla="*/ 0 h 6766838"/>
              <a:gd name="connsiteX2" fmla="*/ 5569910 w 5581840"/>
              <a:gd name="connsiteY2" fmla="*/ 6757103 h 6766838"/>
              <a:gd name="connsiteX3" fmla="*/ 0 w 5581840"/>
              <a:gd name="connsiteY3" fmla="*/ 6766838 h 6766838"/>
              <a:gd name="connsiteX4" fmla="*/ 2564128 w 5581840"/>
              <a:gd name="connsiteY4" fmla="*/ 0 h 6766838"/>
              <a:gd name="connsiteX0" fmla="*/ 2564128 w 5586846"/>
              <a:gd name="connsiteY0" fmla="*/ 5006 h 6771844"/>
              <a:gd name="connsiteX1" fmla="*/ 5586846 w 5586846"/>
              <a:gd name="connsiteY1" fmla="*/ 0 h 6771844"/>
              <a:gd name="connsiteX2" fmla="*/ 5569910 w 5586846"/>
              <a:gd name="connsiteY2" fmla="*/ 6762109 h 6771844"/>
              <a:gd name="connsiteX3" fmla="*/ 0 w 5586846"/>
              <a:gd name="connsiteY3" fmla="*/ 6771844 h 6771844"/>
              <a:gd name="connsiteX4" fmla="*/ 2564128 w 5586846"/>
              <a:gd name="connsiteY4" fmla="*/ 5006 h 6771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86846" h="6771844">
                <a:moveTo>
                  <a:pt x="2564128" y="5006"/>
                </a:moveTo>
                <a:lnTo>
                  <a:pt x="5586846" y="0"/>
                </a:lnTo>
                <a:cubicBezTo>
                  <a:pt x="5579130" y="2287929"/>
                  <a:pt x="5577626" y="4474180"/>
                  <a:pt x="5569910" y="6762109"/>
                </a:cubicBezTo>
                <a:lnTo>
                  <a:pt x="0" y="6771844"/>
                </a:lnTo>
                <a:lnTo>
                  <a:pt x="2564128" y="5006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2E22CC52-2F7D-456F-8105-9ED037B9BFE9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400973" y="2133541"/>
            <a:ext cx="2253327" cy="2197159"/>
          </a:xfrm>
        </p:spPr>
      </p:sp>
    </p:spTree>
    <p:extLst>
      <p:ext uri="{BB962C8B-B14F-4D97-AF65-F5344CB8AC3E}">
        <p14:creationId xmlns:p14="http://schemas.microsoft.com/office/powerpoint/2010/main" val="351013911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with Contact">
    <p:bg>
      <p:bgPr>
        <a:gradFill>
          <a:gsLst>
            <a:gs pos="0">
              <a:schemeClr val="accent1"/>
            </a:gs>
            <a:gs pos="100000">
              <a:schemeClr val="accent2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6EEC91-FAE8-4ABD-9FB4-C659BE817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1020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6EEC91-FAE8-4ABD-9FB4-C659BE817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>
            <a:extLst>
              <a:ext uri="{FF2B5EF4-FFF2-40B4-BE49-F238E27FC236}">
                <a16:creationId xmlns:a16="http://schemas.microsoft.com/office/drawing/2014/main" id="{588F6A14-7494-EC4A-867C-864E07DD2DF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500" y="532355"/>
            <a:ext cx="2412941" cy="591595"/>
          </a:xfrm>
          <a:prstGeom prst="rect">
            <a:avLst/>
          </a:prstGeom>
        </p:spPr>
      </p:pic>
      <p:sp>
        <p:nvSpPr>
          <p:cNvPr id="16" name="Título 1">
            <a:extLst>
              <a:ext uri="{FF2B5EF4-FFF2-40B4-BE49-F238E27FC236}">
                <a16:creationId xmlns:a16="http://schemas.microsoft.com/office/drawing/2014/main" id="{5AA3C8B9-7162-4D6C-AA6C-7DFFC38AFC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27496"/>
            <a:ext cx="9144000" cy="677108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4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endParaRPr lang="es-E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EE16D09-B50F-49D3-9890-32CDE491179B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8077B31-7589-4F46-8022-30057D5345F2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619344-FE0F-44CA-9811-7CDC969750D5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C95EE11-5D93-48EA-AB2A-C71B3C6FC35F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Marcador de texto 3">
            <a:extLst>
              <a:ext uri="{FF2B5EF4-FFF2-40B4-BE49-F238E27FC236}">
                <a16:creationId xmlns:a16="http://schemas.microsoft.com/office/drawing/2014/main" id="{A6DEB12D-B8CE-43E3-A309-C6B6E6120E5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03724" y="4094081"/>
            <a:ext cx="3384551" cy="320399"/>
          </a:xfrm>
          <a:prstGeom prst="rect">
            <a:avLst/>
          </a:prstGeom>
        </p:spPr>
        <p:txBody>
          <a:bodyPr lIns="0" tIns="0" rIns="0" bIns="0"/>
          <a:lstStyle>
            <a:lvl1pPr algn="ctr">
              <a:buNone/>
              <a:defRPr sz="1400" b="1">
                <a:solidFill>
                  <a:schemeClr val="bg1"/>
                </a:solidFill>
              </a:defRPr>
            </a:lvl1pPr>
            <a:lvl2pPr>
              <a:buNone/>
              <a:defRPr sz="700">
                <a:solidFill>
                  <a:schemeClr val="bg1"/>
                </a:solidFill>
              </a:defRPr>
            </a:lvl2pPr>
            <a:lvl3pPr>
              <a:buNone/>
              <a:defRPr sz="700">
                <a:solidFill>
                  <a:schemeClr val="bg1"/>
                </a:solidFill>
              </a:defRPr>
            </a:lvl3pPr>
            <a:lvl4pPr>
              <a:buNone/>
              <a:defRPr sz="700">
                <a:solidFill>
                  <a:schemeClr val="bg1"/>
                </a:solidFill>
              </a:defRPr>
            </a:lvl4pPr>
            <a:lvl5pPr>
              <a:buNone/>
              <a:defRPr sz="7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ontact nam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E83DBF4-3F90-4FD2-9D2C-B89826114A5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407027" y="4352767"/>
            <a:ext cx="3390575" cy="361949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</a:t>
            </a:r>
          </a:p>
        </p:txBody>
      </p:sp>
    </p:spTree>
    <p:extLst>
      <p:ext uri="{BB962C8B-B14F-4D97-AF65-F5344CB8AC3E}">
        <p14:creationId xmlns:p14="http://schemas.microsoft.com/office/powerpoint/2010/main" val="202107393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 Canv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 bwMode="auto">
          <a:xfrm>
            <a:off x="730250" y="366713"/>
            <a:ext cx="10736263" cy="547687"/>
          </a:xfrm>
          <a:noFill/>
          <a:ln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91440" tIns="45720" rIns="91440" bIns="45720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kumimoji="0" sz="3200" b="0" i="0" u="none" baseline="0">
                <a:solidFill>
                  <a:srgbClr val="000000"/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auto">
          <a:xfrm>
            <a:off x="730250" y="1066800"/>
            <a:ext cx="10736263" cy="247650"/>
          </a:xfrm>
          <a:noFill/>
          <a:ln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7357" dir="27000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91440" tIns="45720" rIns="91440" bIns="45720" anchor="t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kumimoji="0" sz="1200" b="1" i="0" u="none" spc="600" baseline="0">
                <a:solidFill>
                  <a:srgbClr val="BFBFBF"/>
                </a:solidFill>
                <a:latin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8792658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background imag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6EEC91-FAE8-4ABD-9FB4-C659BE817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0315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6EEC91-FAE8-4ABD-9FB4-C659BE817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>
            <a:extLst>
              <a:ext uri="{FF2B5EF4-FFF2-40B4-BE49-F238E27FC236}">
                <a16:creationId xmlns:a16="http://schemas.microsoft.com/office/drawing/2014/main" id="{588F6A14-7494-EC4A-867C-864E07DD2DF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500" y="532355"/>
            <a:ext cx="2412941" cy="591595"/>
          </a:xfrm>
          <a:prstGeom prst="rect">
            <a:avLst/>
          </a:prstGeom>
        </p:spPr>
      </p:pic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E606FEF5-DCE1-1A4A-9F62-0F477AF406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734050"/>
            <a:ext cx="9144000" cy="674688"/>
          </a:xfrm>
          <a:prstGeom prst="rect">
            <a:avLst/>
          </a:prstGeom>
        </p:spPr>
        <p:txBody>
          <a:bodyPr/>
          <a:lstStyle>
            <a:lvl1pPr algn="ctr">
              <a:lnSpc>
                <a:spcPct val="140000"/>
              </a:lnSpc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  <a:lvl2pPr algn="ctr">
              <a:buFontTx/>
              <a:buNone/>
              <a:defRPr sz="1200">
                <a:solidFill>
                  <a:schemeClr val="bg1"/>
                </a:solidFill>
              </a:defRPr>
            </a:lvl2pPr>
            <a:lvl3pPr algn="ctr">
              <a:buFontTx/>
              <a:buNone/>
              <a:defRPr sz="1200">
                <a:solidFill>
                  <a:schemeClr val="bg1"/>
                </a:solidFill>
              </a:defRPr>
            </a:lvl3pPr>
            <a:lvl4pPr algn="ctr">
              <a:buFontTx/>
              <a:buNone/>
              <a:defRPr sz="1200">
                <a:solidFill>
                  <a:schemeClr val="bg1"/>
                </a:solidFill>
              </a:defRPr>
            </a:lvl4pPr>
            <a:lvl5pPr algn="ctr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err="1"/>
              <a:t>Name</a:t>
            </a:r>
            <a:r>
              <a:rPr lang="es-ES"/>
              <a:t> </a:t>
            </a:r>
            <a:br>
              <a:rPr lang="es-ES"/>
            </a:br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5AA3C8B9-7162-4D6C-AA6C-7DFFC38AFC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83711" y="2732092"/>
            <a:ext cx="6238755" cy="636702"/>
          </a:xfrm>
          <a:prstGeom prst="rect">
            <a:avLst/>
          </a:prstGeom>
        </p:spPr>
        <p:txBody>
          <a:bodyPr anchor="t"/>
          <a:lstStyle>
            <a:lvl1pPr algn="ctr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s-ES" err="1"/>
              <a:t>Presentation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goes</a:t>
            </a:r>
            <a:r>
              <a:rPr lang="es-ES"/>
              <a:t> </a:t>
            </a:r>
            <a:r>
              <a:rPr lang="es-ES" err="1"/>
              <a:t>here</a:t>
            </a:r>
            <a:endParaRPr lang="es-ES"/>
          </a:p>
        </p:txBody>
      </p:sp>
      <p:sp>
        <p:nvSpPr>
          <p:cNvPr id="17" name="Subtítulo 2">
            <a:extLst>
              <a:ext uri="{FF2B5EF4-FFF2-40B4-BE49-F238E27FC236}">
                <a16:creationId xmlns:a16="http://schemas.microsoft.com/office/drawing/2014/main" id="{F7F45ABA-7AD5-4391-BDBF-13DC6FEFD2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83711" y="4004617"/>
            <a:ext cx="6238755" cy="814028"/>
          </a:xfrm>
          <a:prstGeom prst="rect">
            <a:avLst/>
          </a:prstGeom>
        </p:spPr>
        <p:txBody>
          <a:bodyPr anchor="t"/>
          <a:lstStyle>
            <a:lvl1pPr marL="0" indent="0" algn="ctr">
              <a:lnSpc>
                <a:spcPct val="100000"/>
              </a:lnSpc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goes</a:t>
            </a:r>
            <a:r>
              <a:rPr lang="es-ES"/>
              <a:t> </a:t>
            </a:r>
            <a:r>
              <a:rPr lang="es-ES" err="1"/>
              <a:t>here</a:t>
            </a:r>
            <a:endParaRPr lang="es-E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C24311-C508-4FED-A5FF-8174CD29AB87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75E17B1-02F9-48D4-A41F-3422540FB532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5D916A-C8A3-4D83-A1D8-43FA1FFE01B4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00734FD-1D08-4912-B129-5E758BECB952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3135342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Simple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3107E2-3D7C-4EA6-A3AE-B45AC3CE49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15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F3107E2-3D7C-4EA6-A3AE-B45AC3CE49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>
            <a:extLst>
              <a:ext uri="{FF2B5EF4-FFF2-40B4-BE49-F238E27FC236}">
                <a16:creationId xmlns:a16="http://schemas.microsoft.com/office/drawing/2014/main" id="{588F6A14-7494-EC4A-867C-864E07DD2DF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500" y="532355"/>
            <a:ext cx="2412941" cy="591595"/>
          </a:xfrm>
          <a:prstGeom prst="rect">
            <a:avLst/>
          </a:prstGeom>
        </p:spPr>
      </p:pic>
      <p:sp>
        <p:nvSpPr>
          <p:cNvPr id="11" name="Título 1">
            <a:extLst>
              <a:ext uri="{FF2B5EF4-FFF2-40B4-BE49-F238E27FC236}">
                <a16:creationId xmlns:a16="http://schemas.microsoft.com/office/drawing/2014/main" id="{4BFB3231-EC8D-AC43-B9D1-D6556772F6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8500" y="2924496"/>
            <a:ext cx="5397500" cy="636702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s-ES" err="1"/>
              <a:t>Presentation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goes</a:t>
            </a:r>
            <a:r>
              <a:rPr lang="es-ES"/>
              <a:t> </a:t>
            </a:r>
            <a:r>
              <a:rPr lang="es-ES" err="1"/>
              <a:t>here</a:t>
            </a:r>
            <a:endParaRPr lang="es-ES"/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EA5FD70C-DAB3-DD4D-8618-2EAF4E482F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8500" y="4336157"/>
            <a:ext cx="5397500" cy="81402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2400" b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goes</a:t>
            </a:r>
            <a:r>
              <a:rPr lang="es-ES"/>
              <a:t> </a:t>
            </a:r>
            <a:r>
              <a:rPr lang="es-ES" err="1"/>
              <a:t>here</a:t>
            </a:r>
            <a:endParaRPr lang="es-ES"/>
          </a:p>
        </p:txBody>
      </p:sp>
      <p:sp>
        <p:nvSpPr>
          <p:cNvPr id="14" name="Marcador de texto 10">
            <a:extLst>
              <a:ext uri="{FF2B5EF4-FFF2-40B4-BE49-F238E27FC236}">
                <a16:creationId xmlns:a16="http://schemas.microsoft.com/office/drawing/2014/main" id="{E2245453-498C-BF41-952E-3A56169701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8500" y="5734050"/>
            <a:ext cx="5397500" cy="674688"/>
          </a:xfrm>
          <a:prstGeom prst="rect">
            <a:avLst/>
          </a:prstGeom>
        </p:spPr>
        <p:txBody>
          <a:bodyPr/>
          <a:lstStyle>
            <a:lvl1pPr algn="l">
              <a:lnSpc>
                <a:spcPct val="140000"/>
              </a:lnSpc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1pPr>
            <a:lvl2pPr algn="ctr">
              <a:buFontTx/>
              <a:buNone/>
              <a:defRPr sz="1200">
                <a:solidFill>
                  <a:schemeClr val="bg1"/>
                </a:solidFill>
              </a:defRPr>
            </a:lvl2pPr>
            <a:lvl3pPr algn="ctr">
              <a:buFontTx/>
              <a:buNone/>
              <a:defRPr sz="1200">
                <a:solidFill>
                  <a:schemeClr val="bg1"/>
                </a:solidFill>
              </a:defRPr>
            </a:lvl3pPr>
            <a:lvl4pPr algn="ctr">
              <a:buFontTx/>
              <a:buNone/>
              <a:defRPr sz="1200">
                <a:solidFill>
                  <a:schemeClr val="bg1"/>
                </a:solidFill>
              </a:defRPr>
            </a:lvl4pPr>
            <a:lvl5pPr algn="ctr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err="1"/>
              <a:t>Name</a:t>
            </a:r>
            <a:r>
              <a:rPr lang="es-ES"/>
              <a:t> </a:t>
            </a:r>
            <a:br>
              <a:rPr lang="es-ES"/>
            </a:br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sp>
        <p:nvSpPr>
          <p:cNvPr id="19" name="Marcador de posición de imagen 2">
            <a:extLst>
              <a:ext uri="{FF2B5EF4-FFF2-40B4-BE49-F238E27FC236}">
                <a16:creationId xmlns:a16="http://schemas.microsoft.com/office/drawing/2014/main" id="{1827C2A2-0134-4391-96A1-5B941A0E64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38529" y="-14050"/>
            <a:ext cx="5670915" cy="6877222"/>
          </a:xfrm>
          <a:custGeom>
            <a:avLst/>
            <a:gdLst>
              <a:gd name="connsiteX0" fmla="*/ 0 w 4592124"/>
              <a:gd name="connsiteY0" fmla="*/ 0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0 w 4592124"/>
              <a:gd name="connsiteY4" fmla="*/ 0 h 6858000"/>
              <a:gd name="connsiteX0" fmla="*/ 2549525 w 4592124"/>
              <a:gd name="connsiteY0" fmla="*/ 1058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2549525 w 4592124"/>
              <a:gd name="connsiteY4" fmla="*/ 1058 h 6858000"/>
              <a:gd name="connsiteX0" fmla="*/ 2549525 w 4592124"/>
              <a:gd name="connsiteY0" fmla="*/ 0 h 6856942"/>
              <a:gd name="connsiteX1" fmla="*/ 4592124 w 4592124"/>
              <a:gd name="connsiteY1" fmla="*/ 1371762 h 6856942"/>
              <a:gd name="connsiteX2" fmla="*/ 4592124 w 4592124"/>
              <a:gd name="connsiteY2" fmla="*/ 6856942 h 6856942"/>
              <a:gd name="connsiteX3" fmla="*/ 0 w 4592124"/>
              <a:gd name="connsiteY3" fmla="*/ 6856942 h 6856942"/>
              <a:gd name="connsiteX4" fmla="*/ 2549525 w 4592124"/>
              <a:gd name="connsiteY4" fmla="*/ 0 h 6856942"/>
              <a:gd name="connsiteX0" fmla="*/ 2045812 w 4592124"/>
              <a:gd name="connsiteY0" fmla="*/ 1058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45812 w 4592124"/>
              <a:gd name="connsiteY4" fmla="*/ 1058 h 5485180"/>
              <a:gd name="connsiteX0" fmla="*/ 2028628 w 4592124"/>
              <a:gd name="connsiteY0" fmla="*/ 36027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28628 w 4592124"/>
              <a:gd name="connsiteY4" fmla="*/ 36027 h 5485180"/>
              <a:gd name="connsiteX0" fmla="*/ 2028628 w 4592124"/>
              <a:gd name="connsiteY0" fmla="*/ 4509 h 5453662"/>
              <a:gd name="connsiteX1" fmla="*/ 4568296 w 4592124"/>
              <a:gd name="connsiteY1" fmla="*/ 0 h 5453662"/>
              <a:gd name="connsiteX2" fmla="*/ 4592124 w 4592124"/>
              <a:gd name="connsiteY2" fmla="*/ 5453662 h 5453662"/>
              <a:gd name="connsiteX3" fmla="*/ 0 w 4592124"/>
              <a:gd name="connsiteY3" fmla="*/ 5453662 h 5453662"/>
              <a:gd name="connsiteX4" fmla="*/ 2028628 w 4592124"/>
              <a:gd name="connsiteY4" fmla="*/ 4509 h 5453662"/>
              <a:gd name="connsiteX0" fmla="*/ 2028628 w 4743341"/>
              <a:gd name="connsiteY0" fmla="*/ 4509 h 5460656"/>
              <a:gd name="connsiteX1" fmla="*/ 4568296 w 4743341"/>
              <a:gd name="connsiteY1" fmla="*/ 0 h 5460656"/>
              <a:gd name="connsiteX2" fmla="*/ 4743341 w 4743341"/>
              <a:gd name="connsiteY2" fmla="*/ 5460656 h 5460656"/>
              <a:gd name="connsiteX3" fmla="*/ 0 w 4743341"/>
              <a:gd name="connsiteY3" fmla="*/ 5453662 h 5460656"/>
              <a:gd name="connsiteX4" fmla="*/ 2028628 w 4743341"/>
              <a:gd name="connsiteY4" fmla="*/ 4509 h 5460656"/>
              <a:gd name="connsiteX0" fmla="*/ 2028628 w 4760755"/>
              <a:gd name="connsiteY0" fmla="*/ 4509 h 5460656"/>
              <a:gd name="connsiteX1" fmla="*/ 4760755 w 4760755"/>
              <a:gd name="connsiteY1" fmla="*/ 0 h 5460656"/>
              <a:gd name="connsiteX2" fmla="*/ 4743341 w 4760755"/>
              <a:gd name="connsiteY2" fmla="*/ 5460656 h 5460656"/>
              <a:gd name="connsiteX3" fmla="*/ 0 w 4760755"/>
              <a:gd name="connsiteY3" fmla="*/ 5453662 h 5460656"/>
              <a:gd name="connsiteX4" fmla="*/ 2028628 w 4760755"/>
              <a:gd name="connsiteY4" fmla="*/ 4509 h 5460656"/>
              <a:gd name="connsiteX0" fmla="*/ 2042201 w 4774328"/>
              <a:gd name="connsiteY0" fmla="*/ 4509 h 5467473"/>
              <a:gd name="connsiteX1" fmla="*/ 4774328 w 4774328"/>
              <a:gd name="connsiteY1" fmla="*/ 0 h 5467473"/>
              <a:gd name="connsiteX2" fmla="*/ 4756914 w 4774328"/>
              <a:gd name="connsiteY2" fmla="*/ 5460656 h 5467473"/>
              <a:gd name="connsiteX3" fmla="*/ 0 w 4774328"/>
              <a:gd name="connsiteY3" fmla="*/ 5467473 h 5467473"/>
              <a:gd name="connsiteX4" fmla="*/ 2042201 w 4774328"/>
              <a:gd name="connsiteY4" fmla="*/ 4509 h 5467473"/>
              <a:gd name="connsiteX0" fmla="*/ 2042201 w 4774328"/>
              <a:gd name="connsiteY0" fmla="*/ 4509 h 5474466"/>
              <a:gd name="connsiteX1" fmla="*/ 4774328 w 4774328"/>
              <a:gd name="connsiteY1" fmla="*/ 0 h 5474466"/>
              <a:gd name="connsiteX2" fmla="*/ 4765962 w 4774328"/>
              <a:gd name="connsiteY2" fmla="*/ 5474466 h 5474466"/>
              <a:gd name="connsiteX3" fmla="*/ 0 w 4774328"/>
              <a:gd name="connsiteY3" fmla="*/ 5467473 h 5474466"/>
              <a:gd name="connsiteX4" fmla="*/ 2042201 w 4774328"/>
              <a:gd name="connsiteY4" fmla="*/ 4509 h 5474466"/>
              <a:gd name="connsiteX0" fmla="*/ 2042201 w 4778853"/>
              <a:gd name="connsiteY0" fmla="*/ 0 h 5469957"/>
              <a:gd name="connsiteX1" fmla="*/ 4778853 w 4778853"/>
              <a:gd name="connsiteY1" fmla="*/ 4698 h 5469957"/>
              <a:gd name="connsiteX2" fmla="*/ 4765962 w 4778853"/>
              <a:gd name="connsiteY2" fmla="*/ 5469957 h 5469957"/>
              <a:gd name="connsiteX3" fmla="*/ 0 w 4778853"/>
              <a:gd name="connsiteY3" fmla="*/ 5462964 h 5469957"/>
              <a:gd name="connsiteX4" fmla="*/ 2042201 w 4778853"/>
              <a:gd name="connsiteY4" fmla="*/ 0 h 5469957"/>
              <a:gd name="connsiteX0" fmla="*/ 2042201 w 4781135"/>
              <a:gd name="connsiteY0" fmla="*/ 0 h 5462964"/>
              <a:gd name="connsiteX1" fmla="*/ 4778853 w 4781135"/>
              <a:gd name="connsiteY1" fmla="*/ 4698 h 5462964"/>
              <a:gd name="connsiteX2" fmla="*/ 4779535 w 4781135"/>
              <a:gd name="connsiteY2" fmla="*/ 5460751 h 5462964"/>
              <a:gd name="connsiteX3" fmla="*/ 0 w 4781135"/>
              <a:gd name="connsiteY3" fmla="*/ 5462964 h 5462964"/>
              <a:gd name="connsiteX4" fmla="*/ 2042201 w 4781135"/>
              <a:gd name="connsiteY4" fmla="*/ 0 h 5462964"/>
              <a:gd name="connsiteX0" fmla="*/ 2046725 w 4781135"/>
              <a:gd name="connsiteY0" fmla="*/ 0 h 5467567"/>
              <a:gd name="connsiteX1" fmla="*/ 4778853 w 4781135"/>
              <a:gd name="connsiteY1" fmla="*/ 9301 h 5467567"/>
              <a:gd name="connsiteX2" fmla="*/ 4779535 w 4781135"/>
              <a:gd name="connsiteY2" fmla="*/ 5465354 h 5467567"/>
              <a:gd name="connsiteX3" fmla="*/ 0 w 4781135"/>
              <a:gd name="connsiteY3" fmla="*/ 5467567 h 5467567"/>
              <a:gd name="connsiteX4" fmla="*/ 2046725 w 4781135"/>
              <a:gd name="connsiteY4" fmla="*/ 0 h 5467567"/>
              <a:gd name="connsiteX0" fmla="*/ 2046725 w 4779604"/>
              <a:gd name="connsiteY0" fmla="*/ 2821 h 5470388"/>
              <a:gd name="connsiteX1" fmla="*/ 4433343 w 4779604"/>
              <a:gd name="connsiteY1" fmla="*/ 0 h 5470388"/>
              <a:gd name="connsiteX2" fmla="*/ 4779535 w 4779604"/>
              <a:gd name="connsiteY2" fmla="*/ 5468175 h 5470388"/>
              <a:gd name="connsiteX3" fmla="*/ 0 w 4779604"/>
              <a:gd name="connsiteY3" fmla="*/ 5470388 h 5470388"/>
              <a:gd name="connsiteX4" fmla="*/ 2046725 w 4779604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3343" h="5470388">
                <a:moveTo>
                  <a:pt x="2046725" y="2821"/>
                </a:moveTo>
                <a:lnTo>
                  <a:pt x="4433343" y="0"/>
                </a:lnTo>
                <a:cubicBezTo>
                  <a:pt x="4427538" y="1820219"/>
                  <a:pt x="4431887" y="3647956"/>
                  <a:pt x="4426082" y="5468175"/>
                </a:cubicBezTo>
                <a:lnTo>
                  <a:pt x="0" y="5470388"/>
                </a:lnTo>
                <a:lnTo>
                  <a:pt x="2046725" y="2821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FD6D7-D8CF-4E13-8EC2-8A937ABF2342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E1FB4FA-95BE-468B-BFE7-E073740D98C9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DFA3AF9-3B29-475E-A8CB-9EE6D80472C1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29189E1-7B64-442A-907F-CC6700ED630B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8606110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144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4B4FC7D-4393-4A68-A6C5-568B02850E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592263"/>
            <a:ext cx="5148261" cy="2334072"/>
          </a:xfrm>
        </p:spPr>
        <p:txBody>
          <a:bodyPr anchor="b"/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7DF24BF0-C3D8-4A33-9A94-03CE8CC973C2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096000" y="4093103"/>
            <a:ext cx="5148261" cy="171238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FFFFFF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4" name="CuadroTexto 64">
            <a:extLst>
              <a:ext uri="{FF2B5EF4-FFF2-40B4-BE49-F238E27FC236}">
                <a16:creationId xmlns:a16="http://schemas.microsoft.com/office/drawing/2014/main" id="{CC2249F8-C077-487B-9BA3-4B911902A356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Marcador de posición de imagen 2">
            <a:extLst>
              <a:ext uri="{FF2B5EF4-FFF2-40B4-BE49-F238E27FC236}">
                <a16:creationId xmlns:a16="http://schemas.microsoft.com/office/drawing/2014/main" id="{03104E4C-2AF5-40C4-90D4-0A999BFE96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9663" y="-7891"/>
            <a:ext cx="6113779" cy="6873015"/>
          </a:xfrm>
          <a:custGeom>
            <a:avLst/>
            <a:gdLst>
              <a:gd name="connsiteX0" fmla="*/ 0 w 4672405"/>
              <a:gd name="connsiteY0" fmla="*/ 0 h 6858000"/>
              <a:gd name="connsiteX1" fmla="*/ 4672405 w 4672405"/>
              <a:gd name="connsiteY1" fmla="*/ 0 h 6858000"/>
              <a:gd name="connsiteX2" fmla="*/ 4672405 w 4672405"/>
              <a:gd name="connsiteY2" fmla="*/ 6858000 h 6858000"/>
              <a:gd name="connsiteX3" fmla="*/ 0 w 4672405"/>
              <a:gd name="connsiteY3" fmla="*/ 6858000 h 6858000"/>
              <a:gd name="connsiteX4" fmla="*/ 0 w 4672405"/>
              <a:gd name="connsiteY4" fmla="*/ 0 h 6858000"/>
              <a:gd name="connsiteX0" fmla="*/ 0 w 4672405"/>
              <a:gd name="connsiteY0" fmla="*/ 0 h 6860046"/>
              <a:gd name="connsiteX1" fmla="*/ 4672405 w 4672405"/>
              <a:gd name="connsiteY1" fmla="*/ 0 h 6860046"/>
              <a:gd name="connsiteX2" fmla="*/ 2080582 w 4672405"/>
              <a:gd name="connsiteY2" fmla="*/ 6860046 h 6860046"/>
              <a:gd name="connsiteX3" fmla="*/ 0 w 4672405"/>
              <a:gd name="connsiteY3" fmla="*/ 6858000 h 6860046"/>
              <a:gd name="connsiteX4" fmla="*/ 0 w 4672405"/>
              <a:gd name="connsiteY4" fmla="*/ 0 h 6860046"/>
              <a:gd name="connsiteX0" fmla="*/ 0 w 4193499"/>
              <a:gd name="connsiteY0" fmla="*/ 0 h 6860046"/>
              <a:gd name="connsiteX1" fmla="*/ 4193499 w 4193499"/>
              <a:gd name="connsiteY1" fmla="*/ 1270943 h 6860046"/>
              <a:gd name="connsiteX2" fmla="*/ 2080582 w 4193499"/>
              <a:gd name="connsiteY2" fmla="*/ 6860046 h 6860046"/>
              <a:gd name="connsiteX3" fmla="*/ 0 w 4193499"/>
              <a:gd name="connsiteY3" fmla="*/ 6858000 h 6860046"/>
              <a:gd name="connsiteX4" fmla="*/ 0 w 4193499"/>
              <a:gd name="connsiteY4" fmla="*/ 0 h 6860046"/>
              <a:gd name="connsiteX0" fmla="*/ 0 w 4193499"/>
              <a:gd name="connsiteY0" fmla="*/ 24560 h 5589103"/>
              <a:gd name="connsiteX1" fmla="*/ 4193499 w 4193499"/>
              <a:gd name="connsiteY1" fmla="*/ 0 h 5589103"/>
              <a:gd name="connsiteX2" fmla="*/ 2080582 w 4193499"/>
              <a:gd name="connsiteY2" fmla="*/ 5589103 h 5589103"/>
              <a:gd name="connsiteX3" fmla="*/ 0 w 4193499"/>
              <a:gd name="connsiteY3" fmla="*/ 5587057 h 5589103"/>
              <a:gd name="connsiteX4" fmla="*/ 0 w 4193499"/>
              <a:gd name="connsiteY4" fmla="*/ 24560 h 5589103"/>
              <a:gd name="connsiteX0" fmla="*/ 0 w 4201685"/>
              <a:gd name="connsiteY0" fmla="*/ 1 h 5564544"/>
              <a:gd name="connsiteX1" fmla="*/ 4201685 w 4201685"/>
              <a:gd name="connsiteY1" fmla="*/ 0 h 5564544"/>
              <a:gd name="connsiteX2" fmla="*/ 2080582 w 4201685"/>
              <a:gd name="connsiteY2" fmla="*/ 5564544 h 5564544"/>
              <a:gd name="connsiteX3" fmla="*/ 0 w 4201685"/>
              <a:gd name="connsiteY3" fmla="*/ 5562498 h 5564544"/>
              <a:gd name="connsiteX4" fmla="*/ 0 w 4201685"/>
              <a:gd name="connsiteY4" fmla="*/ 1 h 5564544"/>
              <a:gd name="connsiteX0" fmla="*/ 712220 w 4913905"/>
              <a:gd name="connsiteY0" fmla="*/ 1 h 5564544"/>
              <a:gd name="connsiteX1" fmla="*/ 4913905 w 4913905"/>
              <a:gd name="connsiteY1" fmla="*/ 0 h 5564544"/>
              <a:gd name="connsiteX2" fmla="*/ 2792802 w 4913905"/>
              <a:gd name="connsiteY2" fmla="*/ 5564544 h 5564544"/>
              <a:gd name="connsiteX3" fmla="*/ 0 w 4913905"/>
              <a:gd name="connsiteY3" fmla="*/ 5533846 h 5564544"/>
              <a:gd name="connsiteX4" fmla="*/ 712220 w 4913905"/>
              <a:gd name="connsiteY4" fmla="*/ 1 h 5564544"/>
              <a:gd name="connsiteX0" fmla="*/ 712220 w 4913905"/>
              <a:gd name="connsiteY0" fmla="*/ 1 h 5533846"/>
              <a:gd name="connsiteX1" fmla="*/ 4913905 w 4913905"/>
              <a:gd name="connsiteY1" fmla="*/ 0 h 5533846"/>
              <a:gd name="connsiteX2" fmla="*/ 2813269 w 4913905"/>
              <a:gd name="connsiteY2" fmla="*/ 5523612 h 5533846"/>
              <a:gd name="connsiteX3" fmla="*/ 0 w 4913905"/>
              <a:gd name="connsiteY3" fmla="*/ 5533846 h 5533846"/>
              <a:gd name="connsiteX4" fmla="*/ 712220 w 4913905"/>
              <a:gd name="connsiteY4" fmla="*/ 1 h 5533846"/>
              <a:gd name="connsiteX0" fmla="*/ 1 w 4913905"/>
              <a:gd name="connsiteY0" fmla="*/ 1 h 5533846"/>
              <a:gd name="connsiteX1" fmla="*/ 4913905 w 4913905"/>
              <a:gd name="connsiteY1" fmla="*/ 0 h 5533846"/>
              <a:gd name="connsiteX2" fmla="*/ 2813269 w 4913905"/>
              <a:gd name="connsiteY2" fmla="*/ 5523612 h 5533846"/>
              <a:gd name="connsiteX3" fmla="*/ 0 w 4913905"/>
              <a:gd name="connsiteY3" fmla="*/ 5533846 h 5533846"/>
              <a:gd name="connsiteX4" fmla="*/ 1 w 4913905"/>
              <a:gd name="connsiteY4" fmla="*/ 1 h 5533846"/>
              <a:gd name="connsiteX0" fmla="*/ 1 w 4913905"/>
              <a:gd name="connsiteY0" fmla="*/ 1 h 5523612"/>
              <a:gd name="connsiteX1" fmla="*/ 4913905 w 4913905"/>
              <a:gd name="connsiteY1" fmla="*/ 0 h 5523612"/>
              <a:gd name="connsiteX2" fmla="*/ 2813269 w 4913905"/>
              <a:gd name="connsiteY2" fmla="*/ 5523612 h 5523612"/>
              <a:gd name="connsiteX3" fmla="*/ 0 w 4913905"/>
              <a:gd name="connsiteY3" fmla="*/ 5521566 h 5523612"/>
              <a:gd name="connsiteX4" fmla="*/ 1 w 4913905"/>
              <a:gd name="connsiteY4" fmla="*/ 1 h 5523612"/>
              <a:gd name="connsiteX0" fmla="*/ 1 w 4913905"/>
              <a:gd name="connsiteY0" fmla="*/ 1 h 5521566"/>
              <a:gd name="connsiteX1" fmla="*/ 4913905 w 4913905"/>
              <a:gd name="connsiteY1" fmla="*/ 0 h 5521566"/>
              <a:gd name="connsiteX2" fmla="*/ 2819409 w 4913905"/>
              <a:gd name="connsiteY2" fmla="*/ 5517472 h 5521566"/>
              <a:gd name="connsiteX3" fmla="*/ 0 w 4913905"/>
              <a:gd name="connsiteY3" fmla="*/ 5521566 h 5521566"/>
              <a:gd name="connsiteX4" fmla="*/ 1 w 4913905"/>
              <a:gd name="connsiteY4" fmla="*/ 1 h 5521566"/>
              <a:gd name="connsiteX0" fmla="*/ 8187 w 4922091"/>
              <a:gd name="connsiteY0" fmla="*/ 1 h 5525659"/>
              <a:gd name="connsiteX1" fmla="*/ 4922091 w 4922091"/>
              <a:gd name="connsiteY1" fmla="*/ 0 h 5525659"/>
              <a:gd name="connsiteX2" fmla="*/ 2827595 w 4922091"/>
              <a:gd name="connsiteY2" fmla="*/ 5517472 h 5525659"/>
              <a:gd name="connsiteX3" fmla="*/ 0 w 4922091"/>
              <a:gd name="connsiteY3" fmla="*/ 5525659 h 5525659"/>
              <a:gd name="connsiteX4" fmla="*/ 8187 w 4922091"/>
              <a:gd name="connsiteY4" fmla="*/ 1 h 5525659"/>
              <a:gd name="connsiteX0" fmla="*/ 8187 w 4922091"/>
              <a:gd name="connsiteY0" fmla="*/ 1 h 5525659"/>
              <a:gd name="connsiteX1" fmla="*/ 4922091 w 4922091"/>
              <a:gd name="connsiteY1" fmla="*/ 0 h 5525659"/>
              <a:gd name="connsiteX2" fmla="*/ 2827595 w 4922091"/>
              <a:gd name="connsiteY2" fmla="*/ 5525659 h 5525659"/>
              <a:gd name="connsiteX3" fmla="*/ 0 w 4922091"/>
              <a:gd name="connsiteY3" fmla="*/ 5525659 h 5525659"/>
              <a:gd name="connsiteX4" fmla="*/ 8187 w 4922091"/>
              <a:gd name="connsiteY4" fmla="*/ 1 h 5525659"/>
              <a:gd name="connsiteX0" fmla="*/ 4094 w 4922091"/>
              <a:gd name="connsiteY0" fmla="*/ 0 h 5537938"/>
              <a:gd name="connsiteX1" fmla="*/ 4922091 w 4922091"/>
              <a:gd name="connsiteY1" fmla="*/ 12279 h 5537938"/>
              <a:gd name="connsiteX2" fmla="*/ 2827595 w 4922091"/>
              <a:gd name="connsiteY2" fmla="*/ 5537938 h 5537938"/>
              <a:gd name="connsiteX3" fmla="*/ 0 w 4922091"/>
              <a:gd name="connsiteY3" fmla="*/ 5537938 h 5537938"/>
              <a:gd name="connsiteX4" fmla="*/ 4094 w 4922091"/>
              <a:gd name="connsiteY4" fmla="*/ 0 h 5537938"/>
              <a:gd name="connsiteX0" fmla="*/ 4094 w 4926184"/>
              <a:gd name="connsiteY0" fmla="*/ 1 h 5537939"/>
              <a:gd name="connsiteX1" fmla="*/ 4926184 w 4926184"/>
              <a:gd name="connsiteY1" fmla="*/ 0 h 5537939"/>
              <a:gd name="connsiteX2" fmla="*/ 2827595 w 4926184"/>
              <a:gd name="connsiteY2" fmla="*/ 5537939 h 5537939"/>
              <a:gd name="connsiteX3" fmla="*/ 0 w 4926184"/>
              <a:gd name="connsiteY3" fmla="*/ 5537939 h 5537939"/>
              <a:gd name="connsiteX4" fmla="*/ 4094 w 4926184"/>
              <a:gd name="connsiteY4" fmla="*/ 1 h 5537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26184" h="5537939">
                <a:moveTo>
                  <a:pt x="4094" y="1"/>
                </a:moveTo>
                <a:lnTo>
                  <a:pt x="4926184" y="0"/>
                </a:lnTo>
                <a:lnTo>
                  <a:pt x="2827595" y="5537939"/>
                </a:lnTo>
                <a:lnTo>
                  <a:pt x="0" y="5537939"/>
                </a:lnTo>
                <a:cubicBezTo>
                  <a:pt x="0" y="3693324"/>
                  <a:pt x="4094" y="1844616"/>
                  <a:pt x="4094" y="1"/>
                </a:cubicBez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0C1D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30A68E-DF48-486D-8622-E6914C45B0A6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E1F4D4-6383-4562-B0FB-7F2221633E0E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99A84D5-C8EC-484A-B5C8-027702F3B735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3C037ED-4AAE-4E31-B4F3-2CF9FDB39685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88283898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Simp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Marcador de posición de imagen 2">
            <a:extLst>
              <a:ext uri="{FF2B5EF4-FFF2-40B4-BE49-F238E27FC236}">
                <a16:creationId xmlns:a16="http://schemas.microsoft.com/office/drawing/2014/main" id="{1827C2A2-0134-4391-96A1-5B941A0E64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38529" y="-14050"/>
            <a:ext cx="5670915" cy="6877222"/>
          </a:xfrm>
          <a:custGeom>
            <a:avLst/>
            <a:gdLst>
              <a:gd name="connsiteX0" fmla="*/ 0 w 4592124"/>
              <a:gd name="connsiteY0" fmla="*/ 0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0 w 4592124"/>
              <a:gd name="connsiteY4" fmla="*/ 0 h 6858000"/>
              <a:gd name="connsiteX0" fmla="*/ 2549525 w 4592124"/>
              <a:gd name="connsiteY0" fmla="*/ 1058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2549525 w 4592124"/>
              <a:gd name="connsiteY4" fmla="*/ 1058 h 6858000"/>
              <a:gd name="connsiteX0" fmla="*/ 2549525 w 4592124"/>
              <a:gd name="connsiteY0" fmla="*/ 0 h 6856942"/>
              <a:gd name="connsiteX1" fmla="*/ 4592124 w 4592124"/>
              <a:gd name="connsiteY1" fmla="*/ 1371762 h 6856942"/>
              <a:gd name="connsiteX2" fmla="*/ 4592124 w 4592124"/>
              <a:gd name="connsiteY2" fmla="*/ 6856942 h 6856942"/>
              <a:gd name="connsiteX3" fmla="*/ 0 w 4592124"/>
              <a:gd name="connsiteY3" fmla="*/ 6856942 h 6856942"/>
              <a:gd name="connsiteX4" fmla="*/ 2549525 w 4592124"/>
              <a:gd name="connsiteY4" fmla="*/ 0 h 6856942"/>
              <a:gd name="connsiteX0" fmla="*/ 2045812 w 4592124"/>
              <a:gd name="connsiteY0" fmla="*/ 1058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45812 w 4592124"/>
              <a:gd name="connsiteY4" fmla="*/ 1058 h 5485180"/>
              <a:gd name="connsiteX0" fmla="*/ 2028628 w 4592124"/>
              <a:gd name="connsiteY0" fmla="*/ 36027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28628 w 4592124"/>
              <a:gd name="connsiteY4" fmla="*/ 36027 h 5485180"/>
              <a:gd name="connsiteX0" fmla="*/ 2028628 w 4592124"/>
              <a:gd name="connsiteY0" fmla="*/ 4509 h 5453662"/>
              <a:gd name="connsiteX1" fmla="*/ 4568296 w 4592124"/>
              <a:gd name="connsiteY1" fmla="*/ 0 h 5453662"/>
              <a:gd name="connsiteX2" fmla="*/ 4592124 w 4592124"/>
              <a:gd name="connsiteY2" fmla="*/ 5453662 h 5453662"/>
              <a:gd name="connsiteX3" fmla="*/ 0 w 4592124"/>
              <a:gd name="connsiteY3" fmla="*/ 5453662 h 5453662"/>
              <a:gd name="connsiteX4" fmla="*/ 2028628 w 4592124"/>
              <a:gd name="connsiteY4" fmla="*/ 4509 h 5453662"/>
              <a:gd name="connsiteX0" fmla="*/ 2028628 w 4743341"/>
              <a:gd name="connsiteY0" fmla="*/ 4509 h 5460656"/>
              <a:gd name="connsiteX1" fmla="*/ 4568296 w 4743341"/>
              <a:gd name="connsiteY1" fmla="*/ 0 h 5460656"/>
              <a:gd name="connsiteX2" fmla="*/ 4743341 w 4743341"/>
              <a:gd name="connsiteY2" fmla="*/ 5460656 h 5460656"/>
              <a:gd name="connsiteX3" fmla="*/ 0 w 4743341"/>
              <a:gd name="connsiteY3" fmla="*/ 5453662 h 5460656"/>
              <a:gd name="connsiteX4" fmla="*/ 2028628 w 4743341"/>
              <a:gd name="connsiteY4" fmla="*/ 4509 h 5460656"/>
              <a:gd name="connsiteX0" fmla="*/ 2028628 w 4760755"/>
              <a:gd name="connsiteY0" fmla="*/ 4509 h 5460656"/>
              <a:gd name="connsiteX1" fmla="*/ 4760755 w 4760755"/>
              <a:gd name="connsiteY1" fmla="*/ 0 h 5460656"/>
              <a:gd name="connsiteX2" fmla="*/ 4743341 w 4760755"/>
              <a:gd name="connsiteY2" fmla="*/ 5460656 h 5460656"/>
              <a:gd name="connsiteX3" fmla="*/ 0 w 4760755"/>
              <a:gd name="connsiteY3" fmla="*/ 5453662 h 5460656"/>
              <a:gd name="connsiteX4" fmla="*/ 2028628 w 4760755"/>
              <a:gd name="connsiteY4" fmla="*/ 4509 h 5460656"/>
              <a:gd name="connsiteX0" fmla="*/ 2042201 w 4774328"/>
              <a:gd name="connsiteY0" fmla="*/ 4509 h 5467473"/>
              <a:gd name="connsiteX1" fmla="*/ 4774328 w 4774328"/>
              <a:gd name="connsiteY1" fmla="*/ 0 h 5467473"/>
              <a:gd name="connsiteX2" fmla="*/ 4756914 w 4774328"/>
              <a:gd name="connsiteY2" fmla="*/ 5460656 h 5467473"/>
              <a:gd name="connsiteX3" fmla="*/ 0 w 4774328"/>
              <a:gd name="connsiteY3" fmla="*/ 5467473 h 5467473"/>
              <a:gd name="connsiteX4" fmla="*/ 2042201 w 4774328"/>
              <a:gd name="connsiteY4" fmla="*/ 4509 h 5467473"/>
              <a:gd name="connsiteX0" fmla="*/ 2042201 w 4774328"/>
              <a:gd name="connsiteY0" fmla="*/ 4509 h 5474466"/>
              <a:gd name="connsiteX1" fmla="*/ 4774328 w 4774328"/>
              <a:gd name="connsiteY1" fmla="*/ 0 h 5474466"/>
              <a:gd name="connsiteX2" fmla="*/ 4765962 w 4774328"/>
              <a:gd name="connsiteY2" fmla="*/ 5474466 h 5474466"/>
              <a:gd name="connsiteX3" fmla="*/ 0 w 4774328"/>
              <a:gd name="connsiteY3" fmla="*/ 5467473 h 5474466"/>
              <a:gd name="connsiteX4" fmla="*/ 2042201 w 4774328"/>
              <a:gd name="connsiteY4" fmla="*/ 4509 h 5474466"/>
              <a:gd name="connsiteX0" fmla="*/ 2042201 w 4778853"/>
              <a:gd name="connsiteY0" fmla="*/ 0 h 5469957"/>
              <a:gd name="connsiteX1" fmla="*/ 4778853 w 4778853"/>
              <a:gd name="connsiteY1" fmla="*/ 4698 h 5469957"/>
              <a:gd name="connsiteX2" fmla="*/ 4765962 w 4778853"/>
              <a:gd name="connsiteY2" fmla="*/ 5469957 h 5469957"/>
              <a:gd name="connsiteX3" fmla="*/ 0 w 4778853"/>
              <a:gd name="connsiteY3" fmla="*/ 5462964 h 5469957"/>
              <a:gd name="connsiteX4" fmla="*/ 2042201 w 4778853"/>
              <a:gd name="connsiteY4" fmla="*/ 0 h 5469957"/>
              <a:gd name="connsiteX0" fmla="*/ 2042201 w 4781135"/>
              <a:gd name="connsiteY0" fmla="*/ 0 h 5462964"/>
              <a:gd name="connsiteX1" fmla="*/ 4778853 w 4781135"/>
              <a:gd name="connsiteY1" fmla="*/ 4698 h 5462964"/>
              <a:gd name="connsiteX2" fmla="*/ 4779535 w 4781135"/>
              <a:gd name="connsiteY2" fmla="*/ 5460751 h 5462964"/>
              <a:gd name="connsiteX3" fmla="*/ 0 w 4781135"/>
              <a:gd name="connsiteY3" fmla="*/ 5462964 h 5462964"/>
              <a:gd name="connsiteX4" fmla="*/ 2042201 w 4781135"/>
              <a:gd name="connsiteY4" fmla="*/ 0 h 5462964"/>
              <a:gd name="connsiteX0" fmla="*/ 2046725 w 4781135"/>
              <a:gd name="connsiteY0" fmla="*/ 0 h 5467567"/>
              <a:gd name="connsiteX1" fmla="*/ 4778853 w 4781135"/>
              <a:gd name="connsiteY1" fmla="*/ 9301 h 5467567"/>
              <a:gd name="connsiteX2" fmla="*/ 4779535 w 4781135"/>
              <a:gd name="connsiteY2" fmla="*/ 5465354 h 5467567"/>
              <a:gd name="connsiteX3" fmla="*/ 0 w 4781135"/>
              <a:gd name="connsiteY3" fmla="*/ 5467567 h 5467567"/>
              <a:gd name="connsiteX4" fmla="*/ 2046725 w 4781135"/>
              <a:gd name="connsiteY4" fmla="*/ 0 h 5467567"/>
              <a:gd name="connsiteX0" fmla="*/ 2046725 w 4779604"/>
              <a:gd name="connsiteY0" fmla="*/ 2821 h 5470388"/>
              <a:gd name="connsiteX1" fmla="*/ 4433343 w 4779604"/>
              <a:gd name="connsiteY1" fmla="*/ 0 h 5470388"/>
              <a:gd name="connsiteX2" fmla="*/ 4779535 w 4779604"/>
              <a:gd name="connsiteY2" fmla="*/ 5468175 h 5470388"/>
              <a:gd name="connsiteX3" fmla="*/ 0 w 4779604"/>
              <a:gd name="connsiteY3" fmla="*/ 5470388 h 5470388"/>
              <a:gd name="connsiteX4" fmla="*/ 2046725 w 4779604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3343" h="5470388">
                <a:moveTo>
                  <a:pt x="2046725" y="2821"/>
                </a:moveTo>
                <a:lnTo>
                  <a:pt x="4433343" y="0"/>
                </a:lnTo>
                <a:cubicBezTo>
                  <a:pt x="4427538" y="1820219"/>
                  <a:pt x="4431887" y="3647956"/>
                  <a:pt x="4426082" y="5468175"/>
                </a:cubicBezTo>
                <a:lnTo>
                  <a:pt x="0" y="5470388"/>
                </a:lnTo>
                <a:lnTo>
                  <a:pt x="2046725" y="2821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3107E2-3D7C-4EA6-A3AE-B45AC3CE49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987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F3107E2-3D7C-4EA6-A3AE-B45AC3CE49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ítulo 1">
            <a:extLst>
              <a:ext uri="{FF2B5EF4-FFF2-40B4-BE49-F238E27FC236}">
                <a16:creationId xmlns:a16="http://schemas.microsoft.com/office/drawing/2014/main" id="{4BFB3231-EC8D-AC43-B9D1-D6556772F6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8500" y="2924496"/>
            <a:ext cx="5397500" cy="636702"/>
          </a:xfrm>
          <a:prstGeom prst="rect">
            <a:avLst/>
          </a:prstGeom>
        </p:spPr>
        <p:txBody>
          <a:bodyPr anchor="t"/>
          <a:lstStyle>
            <a:lvl1pPr algn="l">
              <a:lnSpc>
                <a:spcPct val="100000"/>
              </a:lnSpc>
              <a:defRPr sz="3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s-ES" err="1"/>
              <a:t>Presentation</a:t>
            </a:r>
            <a:r>
              <a:rPr lang="es-ES"/>
              <a:t> </a:t>
            </a:r>
            <a:r>
              <a:rPr lang="es-ES" err="1"/>
              <a:t>title</a:t>
            </a:r>
            <a:r>
              <a:rPr lang="es-ES"/>
              <a:t> </a:t>
            </a:r>
            <a:r>
              <a:rPr lang="es-ES" err="1"/>
              <a:t>goes</a:t>
            </a:r>
            <a:r>
              <a:rPr lang="es-ES"/>
              <a:t> </a:t>
            </a:r>
            <a:r>
              <a:rPr lang="es-ES" err="1"/>
              <a:t>here</a:t>
            </a:r>
            <a:endParaRPr lang="es-ES"/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EA5FD70C-DAB3-DD4D-8618-2EAF4E482F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8500" y="4336157"/>
            <a:ext cx="5397500" cy="81402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100000"/>
              </a:lnSpc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err="1"/>
              <a:t>Subtitle</a:t>
            </a:r>
            <a:r>
              <a:rPr lang="es-ES"/>
              <a:t> </a:t>
            </a:r>
            <a:r>
              <a:rPr lang="es-ES" err="1"/>
              <a:t>goes</a:t>
            </a:r>
            <a:r>
              <a:rPr lang="es-ES"/>
              <a:t> </a:t>
            </a:r>
            <a:r>
              <a:rPr lang="es-ES" err="1"/>
              <a:t>here</a:t>
            </a:r>
            <a:endParaRPr lang="es-E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BFD6D7-D8CF-4E13-8EC2-8A937ABF2342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E1FB4FA-95BE-468B-BFE7-E073740D98C9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DFA3AF9-3B29-475E-A8CB-9EE6D80472C1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29189E1-7B64-442A-907F-CC6700ED630B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Marcador de texto 10">
            <a:extLst>
              <a:ext uri="{FF2B5EF4-FFF2-40B4-BE49-F238E27FC236}">
                <a16:creationId xmlns:a16="http://schemas.microsoft.com/office/drawing/2014/main" id="{B2DD11A6-CA44-411D-B8C7-946C195B8B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8500" y="5734050"/>
            <a:ext cx="5397500" cy="674688"/>
          </a:xfrm>
          <a:prstGeom prst="rect">
            <a:avLst/>
          </a:prstGeom>
        </p:spPr>
        <p:txBody>
          <a:bodyPr/>
          <a:lstStyle>
            <a:lvl1pPr algn="l">
              <a:lnSpc>
                <a:spcPct val="140000"/>
              </a:lnSpc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</a:defRPr>
            </a:lvl1pPr>
            <a:lvl2pPr algn="ctr">
              <a:buFontTx/>
              <a:buNone/>
              <a:defRPr sz="1200">
                <a:solidFill>
                  <a:schemeClr val="bg1"/>
                </a:solidFill>
              </a:defRPr>
            </a:lvl2pPr>
            <a:lvl3pPr algn="ctr">
              <a:buFontTx/>
              <a:buNone/>
              <a:defRPr sz="1200">
                <a:solidFill>
                  <a:schemeClr val="bg1"/>
                </a:solidFill>
              </a:defRPr>
            </a:lvl3pPr>
            <a:lvl4pPr algn="ctr">
              <a:buFontTx/>
              <a:buNone/>
              <a:defRPr sz="1200">
                <a:solidFill>
                  <a:schemeClr val="bg1"/>
                </a:solidFill>
              </a:defRPr>
            </a:lvl4pPr>
            <a:lvl5pPr algn="ctr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s-ES" err="1"/>
              <a:t>Name</a:t>
            </a:r>
            <a:r>
              <a:rPr lang="es-ES"/>
              <a:t> </a:t>
            </a:r>
            <a:br>
              <a:rPr lang="es-ES"/>
            </a:br>
            <a:r>
              <a:rPr lang="es-ES"/>
              <a:t>Job </a:t>
            </a:r>
            <a:r>
              <a:rPr lang="es-ES" err="1"/>
              <a:t>Title</a:t>
            </a:r>
            <a:endParaRPr lang="es-ES"/>
          </a:p>
        </p:txBody>
      </p:sp>
      <p:pic>
        <p:nvPicPr>
          <p:cNvPr id="17" name="Graphic 10">
            <a:extLst>
              <a:ext uri="{FF2B5EF4-FFF2-40B4-BE49-F238E27FC236}">
                <a16:creationId xmlns:a16="http://schemas.microsoft.com/office/drawing/2014/main" id="{34696A26-5DA4-4450-A8B9-0A832630CE2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85959" y="532355"/>
            <a:ext cx="2435642" cy="585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26076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F8A8F69-DD66-45C1-B85D-0E011DEEE8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2315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F8A8F69-DD66-45C1-B85D-0E011DEEE8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texto 2">
            <a:extLst>
              <a:ext uri="{FF2B5EF4-FFF2-40B4-BE49-F238E27FC236}">
                <a16:creationId xmlns:a16="http://schemas.microsoft.com/office/drawing/2014/main" id="{D143ED73-AA34-4057-A898-E1A20B1D6F7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2637FA-97C6-4B1B-B40E-DEFDE97B84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8790" y="1396800"/>
            <a:ext cx="11446270" cy="47520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D38EC83-21DE-431D-8BC8-1CB195F64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918855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CDBA13D-FCA5-4989-91E5-44E3413182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5647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CDBA13D-FCA5-4989-91E5-44E3413182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7D4D7FA-7248-4529-B53C-62A15C74CE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6" name="Marcador de texto 2">
            <a:extLst>
              <a:ext uri="{FF2B5EF4-FFF2-40B4-BE49-F238E27FC236}">
                <a16:creationId xmlns:a16="http://schemas.microsoft.com/office/drawing/2014/main" id="{9ECC12FF-66F9-5342-A608-D96A0F40994B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68790" y="722639"/>
            <a:ext cx="11446270" cy="3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437299-17E5-4499-8DF6-B32E17F3F0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300676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B232AB-6DE5-4E25-B6EB-5F718ECFBF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2121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B232AB-6DE5-4E25-B6EB-5F718ECFBF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8146453-8E47-4D97-A280-F4B6A30B5A3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41161F-003E-4201-A397-037C10BA5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0" y="252000"/>
            <a:ext cx="11448000" cy="4236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61612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D3511B-C5A8-4ED9-BAA0-0D23EFDCE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575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D3511B-C5A8-4ED9-BAA0-0D23EFDCE6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7024936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osición de imagen 2">
            <a:extLst>
              <a:ext uri="{FF2B5EF4-FFF2-40B4-BE49-F238E27FC236}">
                <a16:creationId xmlns:a16="http://schemas.microsoft.com/office/drawing/2014/main" id="{6C35D55E-7563-4493-B483-B85E0BB97F8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38529" y="-14050"/>
            <a:ext cx="5670915" cy="6877222"/>
          </a:xfrm>
          <a:custGeom>
            <a:avLst/>
            <a:gdLst>
              <a:gd name="connsiteX0" fmla="*/ 0 w 4592124"/>
              <a:gd name="connsiteY0" fmla="*/ 0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0 w 4592124"/>
              <a:gd name="connsiteY4" fmla="*/ 0 h 6858000"/>
              <a:gd name="connsiteX0" fmla="*/ 2549525 w 4592124"/>
              <a:gd name="connsiteY0" fmla="*/ 1058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2549525 w 4592124"/>
              <a:gd name="connsiteY4" fmla="*/ 1058 h 6858000"/>
              <a:gd name="connsiteX0" fmla="*/ 2549525 w 4592124"/>
              <a:gd name="connsiteY0" fmla="*/ 0 h 6856942"/>
              <a:gd name="connsiteX1" fmla="*/ 4592124 w 4592124"/>
              <a:gd name="connsiteY1" fmla="*/ 1371762 h 6856942"/>
              <a:gd name="connsiteX2" fmla="*/ 4592124 w 4592124"/>
              <a:gd name="connsiteY2" fmla="*/ 6856942 h 6856942"/>
              <a:gd name="connsiteX3" fmla="*/ 0 w 4592124"/>
              <a:gd name="connsiteY3" fmla="*/ 6856942 h 6856942"/>
              <a:gd name="connsiteX4" fmla="*/ 2549525 w 4592124"/>
              <a:gd name="connsiteY4" fmla="*/ 0 h 6856942"/>
              <a:gd name="connsiteX0" fmla="*/ 2045812 w 4592124"/>
              <a:gd name="connsiteY0" fmla="*/ 1058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45812 w 4592124"/>
              <a:gd name="connsiteY4" fmla="*/ 1058 h 5485180"/>
              <a:gd name="connsiteX0" fmla="*/ 2028628 w 4592124"/>
              <a:gd name="connsiteY0" fmla="*/ 36027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28628 w 4592124"/>
              <a:gd name="connsiteY4" fmla="*/ 36027 h 5485180"/>
              <a:gd name="connsiteX0" fmla="*/ 2028628 w 4592124"/>
              <a:gd name="connsiteY0" fmla="*/ 4509 h 5453662"/>
              <a:gd name="connsiteX1" fmla="*/ 4568296 w 4592124"/>
              <a:gd name="connsiteY1" fmla="*/ 0 h 5453662"/>
              <a:gd name="connsiteX2" fmla="*/ 4592124 w 4592124"/>
              <a:gd name="connsiteY2" fmla="*/ 5453662 h 5453662"/>
              <a:gd name="connsiteX3" fmla="*/ 0 w 4592124"/>
              <a:gd name="connsiteY3" fmla="*/ 5453662 h 5453662"/>
              <a:gd name="connsiteX4" fmla="*/ 2028628 w 4592124"/>
              <a:gd name="connsiteY4" fmla="*/ 4509 h 5453662"/>
              <a:gd name="connsiteX0" fmla="*/ 2028628 w 4743341"/>
              <a:gd name="connsiteY0" fmla="*/ 4509 h 5460656"/>
              <a:gd name="connsiteX1" fmla="*/ 4568296 w 4743341"/>
              <a:gd name="connsiteY1" fmla="*/ 0 h 5460656"/>
              <a:gd name="connsiteX2" fmla="*/ 4743341 w 4743341"/>
              <a:gd name="connsiteY2" fmla="*/ 5460656 h 5460656"/>
              <a:gd name="connsiteX3" fmla="*/ 0 w 4743341"/>
              <a:gd name="connsiteY3" fmla="*/ 5453662 h 5460656"/>
              <a:gd name="connsiteX4" fmla="*/ 2028628 w 4743341"/>
              <a:gd name="connsiteY4" fmla="*/ 4509 h 5460656"/>
              <a:gd name="connsiteX0" fmla="*/ 2028628 w 4760755"/>
              <a:gd name="connsiteY0" fmla="*/ 4509 h 5460656"/>
              <a:gd name="connsiteX1" fmla="*/ 4760755 w 4760755"/>
              <a:gd name="connsiteY1" fmla="*/ 0 h 5460656"/>
              <a:gd name="connsiteX2" fmla="*/ 4743341 w 4760755"/>
              <a:gd name="connsiteY2" fmla="*/ 5460656 h 5460656"/>
              <a:gd name="connsiteX3" fmla="*/ 0 w 4760755"/>
              <a:gd name="connsiteY3" fmla="*/ 5453662 h 5460656"/>
              <a:gd name="connsiteX4" fmla="*/ 2028628 w 4760755"/>
              <a:gd name="connsiteY4" fmla="*/ 4509 h 5460656"/>
              <a:gd name="connsiteX0" fmla="*/ 2042201 w 4774328"/>
              <a:gd name="connsiteY0" fmla="*/ 4509 h 5467473"/>
              <a:gd name="connsiteX1" fmla="*/ 4774328 w 4774328"/>
              <a:gd name="connsiteY1" fmla="*/ 0 h 5467473"/>
              <a:gd name="connsiteX2" fmla="*/ 4756914 w 4774328"/>
              <a:gd name="connsiteY2" fmla="*/ 5460656 h 5467473"/>
              <a:gd name="connsiteX3" fmla="*/ 0 w 4774328"/>
              <a:gd name="connsiteY3" fmla="*/ 5467473 h 5467473"/>
              <a:gd name="connsiteX4" fmla="*/ 2042201 w 4774328"/>
              <a:gd name="connsiteY4" fmla="*/ 4509 h 5467473"/>
              <a:gd name="connsiteX0" fmla="*/ 2042201 w 4774328"/>
              <a:gd name="connsiteY0" fmla="*/ 4509 h 5474466"/>
              <a:gd name="connsiteX1" fmla="*/ 4774328 w 4774328"/>
              <a:gd name="connsiteY1" fmla="*/ 0 h 5474466"/>
              <a:gd name="connsiteX2" fmla="*/ 4765962 w 4774328"/>
              <a:gd name="connsiteY2" fmla="*/ 5474466 h 5474466"/>
              <a:gd name="connsiteX3" fmla="*/ 0 w 4774328"/>
              <a:gd name="connsiteY3" fmla="*/ 5467473 h 5474466"/>
              <a:gd name="connsiteX4" fmla="*/ 2042201 w 4774328"/>
              <a:gd name="connsiteY4" fmla="*/ 4509 h 5474466"/>
              <a:gd name="connsiteX0" fmla="*/ 2042201 w 4778853"/>
              <a:gd name="connsiteY0" fmla="*/ 0 h 5469957"/>
              <a:gd name="connsiteX1" fmla="*/ 4778853 w 4778853"/>
              <a:gd name="connsiteY1" fmla="*/ 4698 h 5469957"/>
              <a:gd name="connsiteX2" fmla="*/ 4765962 w 4778853"/>
              <a:gd name="connsiteY2" fmla="*/ 5469957 h 5469957"/>
              <a:gd name="connsiteX3" fmla="*/ 0 w 4778853"/>
              <a:gd name="connsiteY3" fmla="*/ 5462964 h 5469957"/>
              <a:gd name="connsiteX4" fmla="*/ 2042201 w 4778853"/>
              <a:gd name="connsiteY4" fmla="*/ 0 h 5469957"/>
              <a:gd name="connsiteX0" fmla="*/ 2042201 w 4781135"/>
              <a:gd name="connsiteY0" fmla="*/ 0 h 5462964"/>
              <a:gd name="connsiteX1" fmla="*/ 4778853 w 4781135"/>
              <a:gd name="connsiteY1" fmla="*/ 4698 h 5462964"/>
              <a:gd name="connsiteX2" fmla="*/ 4779535 w 4781135"/>
              <a:gd name="connsiteY2" fmla="*/ 5460751 h 5462964"/>
              <a:gd name="connsiteX3" fmla="*/ 0 w 4781135"/>
              <a:gd name="connsiteY3" fmla="*/ 5462964 h 5462964"/>
              <a:gd name="connsiteX4" fmla="*/ 2042201 w 4781135"/>
              <a:gd name="connsiteY4" fmla="*/ 0 h 5462964"/>
              <a:gd name="connsiteX0" fmla="*/ 2046725 w 4781135"/>
              <a:gd name="connsiteY0" fmla="*/ 0 h 5467567"/>
              <a:gd name="connsiteX1" fmla="*/ 4778853 w 4781135"/>
              <a:gd name="connsiteY1" fmla="*/ 9301 h 5467567"/>
              <a:gd name="connsiteX2" fmla="*/ 4779535 w 4781135"/>
              <a:gd name="connsiteY2" fmla="*/ 5465354 h 5467567"/>
              <a:gd name="connsiteX3" fmla="*/ 0 w 4781135"/>
              <a:gd name="connsiteY3" fmla="*/ 5467567 h 5467567"/>
              <a:gd name="connsiteX4" fmla="*/ 2046725 w 4781135"/>
              <a:gd name="connsiteY4" fmla="*/ 0 h 5467567"/>
              <a:gd name="connsiteX0" fmla="*/ 2046725 w 4779604"/>
              <a:gd name="connsiteY0" fmla="*/ 2821 h 5470388"/>
              <a:gd name="connsiteX1" fmla="*/ 4433343 w 4779604"/>
              <a:gd name="connsiteY1" fmla="*/ 0 h 5470388"/>
              <a:gd name="connsiteX2" fmla="*/ 4779535 w 4779604"/>
              <a:gd name="connsiteY2" fmla="*/ 5468175 h 5470388"/>
              <a:gd name="connsiteX3" fmla="*/ 0 w 4779604"/>
              <a:gd name="connsiteY3" fmla="*/ 5470388 h 5470388"/>
              <a:gd name="connsiteX4" fmla="*/ 2046725 w 4779604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3343" h="5470388">
                <a:moveTo>
                  <a:pt x="2046725" y="2821"/>
                </a:moveTo>
                <a:lnTo>
                  <a:pt x="4433343" y="0"/>
                </a:lnTo>
                <a:cubicBezTo>
                  <a:pt x="4427538" y="1820219"/>
                  <a:pt x="4431887" y="3647956"/>
                  <a:pt x="4426082" y="5468175"/>
                </a:cubicBezTo>
                <a:lnTo>
                  <a:pt x="0" y="5470388"/>
                </a:lnTo>
                <a:lnTo>
                  <a:pt x="2046725" y="2821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8840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4B4FC7D-4393-4A68-A6C5-568B02850E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1592263"/>
            <a:ext cx="5148261" cy="2334072"/>
          </a:xfrm>
        </p:spPr>
        <p:txBody>
          <a:bodyPr anchor="b"/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7DF24BF0-C3D8-4A33-9A94-03CE8CC973C2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947739" y="4093103"/>
            <a:ext cx="5148261" cy="171238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FFFFFF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9B3FDCE-92B0-4D77-90B6-4ABEC757158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3BE0114-44D3-492A-9611-99D541051A5A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AA55E4F-FC1E-4ED4-9C8D-40175F4569F6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B124D-9D1E-42DC-8736-6E41F2C0EAA8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30984343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B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144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4B4FC7D-4393-4A68-A6C5-568B02850E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592263"/>
            <a:ext cx="5148261" cy="2334072"/>
          </a:xfrm>
        </p:spPr>
        <p:txBody>
          <a:bodyPr anchor="b"/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7DF24BF0-C3D8-4A33-9A94-03CE8CC973C2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096000" y="4093103"/>
            <a:ext cx="5148261" cy="171238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FFFFFF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18" name="Marcador de posición de imagen 2">
            <a:extLst>
              <a:ext uri="{FF2B5EF4-FFF2-40B4-BE49-F238E27FC236}">
                <a16:creationId xmlns:a16="http://schemas.microsoft.com/office/drawing/2014/main" id="{03104E4C-2AF5-40C4-90D4-0A999BFE96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9663" y="-7891"/>
            <a:ext cx="6113779" cy="6873015"/>
          </a:xfrm>
          <a:custGeom>
            <a:avLst/>
            <a:gdLst>
              <a:gd name="connsiteX0" fmla="*/ 0 w 4672405"/>
              <a:gd name="connsiteY0" fmla="*/ 0 h 6858000"/>
              <a:gd name="connsiteX1" fmla="*/ 4672405 w 4672405"/>
              <a:gd name="connsiteY1" fmla="*/ 0 h 6858000"/>
              <a:gd name="connsiteX2" fmla="*/ 4672405 w 4672405"/>
              <a:gd name="connsiteY2" fmla="*/ 6858000 h 6858000"/>
              <a:gd name="connsiteX3" fmla="*/ 0 w 4672405"/>
              <a:gd name="connsiteY3" fmla="*/ 6858000 h 6858000"/>
              <a:gd name="connsiteX4" fmla="*/ 0 w 4672405"/>
              <a:gd name="connsiteY4" fmla="*/ 0 h 6858000"/>
              <a:gd name="connsiteX0" fmla="*/ 0 w 4672405"/>
              <a:gd name="connsiteY0" fmla="*/ 0 h 6860046"/>
              <a:gd name="connsiteX1" fmla="*/ 4672405 w 4672405"/>
              <a:gd name="connsiteY1" fmla="*/ 0 h 6860046"/>
              <a:gd name="connsiteX2" fmla="*/ 2080582 w 4672405"/>
              <a:gd name="connsiteY2" fmla="*/ 6860046 h 6860046"/>
              <a:gd name="connsiteX3" fmla="*/ 0 w 4672405"/>
              <a:gd name="connsiteY3" fmla="*/ 6858000 h 6860046"/>
              <a:gd name="connsiteX4" fmla="*/ 0 w 4672405"/>
              <a:gd name="connsiteY4" fmla="*/ 0 h 6860046"/>
              <a:gd name="connsiteX0" fmla="*/ 0 w 4193499"/>
              <a:gd name="connsiteY0" fmla="*/ 0 h 6860046"/>
              <a:gd name="connsiteX1" fmla="*/ 4193499 w 4193499"/>
              <a:gd name="connsiteY1" fmla="*/ 1270943 h 6860046"/>
              <a:gd name="connsiteX2" fmla="*/ 2080582 w 4193499"/>
              <a:gd name="connsiteY2" fmla="*/ 6860046 h 6860046"/>
              <a:gd name="connsiteX3" fmla="*/ 0 w 4193499"/>
              <a:gd name="connsiteY3" fmla="*/ 6858000 h 6860046"/>
              <a:gd name="connsiteX4" fmla="*/ 0 w 4193499"/>
              <a:gd name="connsiteY4" fmla="*/ 0 h 6860046"/>
              <a:gd name="connsiteX0" fmla="*/ 0 w 4193499"/>
              <a:gd name="connsiteY0" fmla="*/ 24560 h 5589103"/>
              <a:gd name="connsiteX1" fmla="*/ 4193499 w 4193499"/>
              <a:gd name="connsiteY1" fmla="*/ 0 h 5589103"/>
              <a:gd name="connsiteX2" fmla="*/ 2080582 w 4193499"/>
              <a:gd name="connsiteY2" fmla="*/ 5589103 h 5589103"/>
              <a:gd name="connsiteX3" fmla="*/ 0 w 4193499"/>
              <a:gd name="connsiteY3" fmla="*/ 5587057 h 5589103"/>
              <a:gd name="connsiteX4" fmla="*/ 0 w 4193499"/>
              <a:gd name="connsiteY4" fmla="*/ 24560 h 5589103"/>
              <a:gd name="connsiteX0" fmla="*/ 0 w 4201685"/>
              <a:gd name="connsiteY0" fmla="*/ 1 h 5564544"/>
              <a:gd name="connsiteX1" fmla="*/ 4201685 w 4201685"/>
              <a:gd name="connsiteY1" fmla="*/ 0 h 5564544"/>
              <a:gd name="connsiteX2" fmla="*/ 2080582 w 4201685"/>
              <a:gd name="connsiteY2" fmla="*/ 5564544 h 5564544"/>
              <a:gd name="connsiteX3" fmla="*/ 0 w 4201685"/>
              <a:gd name="connsiteY3" fmla="*/ 5562498 h 5564544"/>
              <a:gd name="connsiteX4" fmla="*/ 0 w 4201685"/>
              <a:gd name="connsiteY4" fmla="*/ 1 h 5564544"/>
              <a:gd name="connsiteX0" fmla="*/ 712220 w 4913905"/>
              <a:gd name="connsiteY0" fmla="*/ 1 h 5564544"/>
              <a:gd name="connsiteX1" fmla="*/ 4913905 w 4913905"/>
              <a:gd name="connsiteY1" fmla="*/ 0 h 5564544"/>
              <a:gd name="connsiteX2" fmla="*/ 2792802 w 4913905"/>
              <a:gd name="connsiteY2" fmla="*/ 5564544 h 5564544"/>
              <a:gd name="connsiteX3" fmla="*/ 0 w 4913905"/>
              <a:gd name="connsiteY3" fmla="*/ 5533846 h 5564544"/>
              <a:gd name="connsiteX4" fmla="*/ 712220 w 4913905"/>
              <a:gd name="connsiteY4" fmla="*/ 1 h 5564544"/>
              <a:gd name="connsiteX0" fmla="*/ 712220 w 4913905"/>
              <a:gd name="connsiteY0" fmla="*/ 1 h 5533846"/>
              <a:gd name="connsiteX1" fmla="*/ 4913905 w 4913905"/>
              <a:gd name="connsiteY1" fmla="*/ 0 h 5533846"/>
              <a:gd name="connsiteX2" fmla="*/ 2813269 w 4913905"/>
              <a:gd name="connsiteY2" fmla="*/ 5523612 h 5533846"/>
              <a:gd name="connsiteX3" fmla="*/ 0 w 4913905"/>
              <a:gd name="connsiteY3" fmla="*/ 5533846 h 5533846"/>
              <a:gd name="connsiteX4" fmla="*/ 712220 w 4913905"/>
              <a:gd name="connsiteY4" fmla="*/ 1 h 5533846"/>
              <a:gd name="connsiteX0" fmla="*/ 1 w 4913905"/>
              <a:gd name="connsiteY0" fmla="*/ 1 h 5533846"/>
              <a:gd name="connsiteX1" fmla="*/ 4913905 w 4913905"/>
              <a:gd name="connsiteY1" fmla="*/ 0 h 5533846"/>
              <a:gd name="connsiteX2" fmla="*/ 2813269 w 4913905"/>
              <a:gd name="connsiteY2" fmla="*/ 5523612 h 5533846"/>
              <a:gd name="connsiteX3" fmla="*/ 0 w 4913905"/>
              <a:gd name="connsiteY3" fmla="*/ 5533846 h 5533846"/>
              <a:gd name="connsiteX4" fmla="*/ 1 w 4913905"/>
              <a:gd name="connsiteY4" fmla="*/ 1 h 5533846"/>
              <a:gd name="connsiteX0" fmla="*/ 1 w 4913905"/>
              <a:gd name="connsiteY0" fmla="*/ 1 h 5523612"/>
              <a:gd name="connsiteX1" fmla="*/ 4913905 w 4913905"/>
              <a:gd name="connsiteY1" fmla="*/ 0 h 5523612"/>
              <a:gd name="connsiteX2" fmla="*/ 2813269 w 4913905"/>
              <a:gd name="connsiteY2" fmla="*/ 5523612 h 5523612"/>
              <a:gd name="connsiteX3" fmla="*/ 0 w 4913905"/>
              <a:gd name="connsiteY3" fmla="*/ 5521566 h 5523612"/>
              <a:gd name="connsiteX4" fmla="*/ 1 w 4913905"/>
              <a:gd name="connsiteY4" fmla="*/ 1 h 5523612"/>
              <a:gd name="connsiteX0" fmla="*/ 1 w 4913905"/>
              <a:gd name="connsiteY0" fmla="*/ 1 h 5521566"/>
              <a:gd name="connsiteX1" fmla="*/ 4913905 w 4913905"/>
              <a:gd name="connsiteY1" fmla="*/ 0 h 5521566"/>
              <a:gd name="connsiteX2" fmla="*/ 2819409 w 4913905"/>
              <a:gd name="connsiteY2" fmla="*/ 5517472 h 5521566"/>
              <a:gd name="connsiteX3" fmla="*/ 0 w 4913905"/>
              <a:gd name="connsiteY3" fmla="*/ 5521566 h 5521566"/>
              <a:gd name="connsiteX4" fmla="*/ 1 w 4913905"/>
              <a:gd name="connsiteY4" fmla="*/ 1 h 5521566"/>
              <a:gd name="connsiteX0" fmla="*/ 8187 w 4922091"/>
              <a:gd name="connsiteY0" fmla="*/ 1 h 5525659"/>
              <a:gd name="connsiteX1" fmla="*/ 4922091 w 4922091"/>
              <a:gd name="connsiteY1" fmla="*/ 0 h 5525659"/>
              <a:gd name="connsiteX2" fmla="*/ 2827595 w 4922091"/>
              <a:gd name="connsiteY2" fmla="*/ 5517472 h 5525659"/>
              <a:gd name="connsiteX3" fmla="*/ 0 w 4922091"/>
              <a:gd name="connsiteY3" fmla="*/ 5525659 h 5525659"/>
              <a:gd name="connsiteX4" fmla="*/ 8187 w 4922091"/>
              <a:gd name="connsiteY4" fmla="*/ 1 h 5525659"/>
              <a:gd name="connsiteX0" fmla="*/ 8187 w 4922091"/>
              <a:gd name="connsiteY0" fmla="*/ 1 h 5525659"/>
              <a:gd name="connsiteX1" fmla="*/ 4922091 w 4922091"/>
              <a:gd name="connsiteY1" fmla="*/ 0 h 5525659"/>
              <a:gd name="connsiteX2" fmla="*/ 2827595 w 4922091"/>
              <a:gd name="connsiteY2" fmla="*/ 5525659 h 5525659"/>
              <a:gd name="connsiteX3" fmla="*/ 0 w 4922091"/>
              <a:gd name="connsiteY3" fmla="*/ 5525659 h 5525659"/>
              <a:gd name="connsiteX4" fmla="*/ 8187 w 4922091"/>
              <a:gd name="connsiteY4" fmla="*/ 1 h 5525659"/>
              <a:gd name="connsiteX0" fmla="*/ 4094 w 4922091"/>
              <a:gd name="connsiteY0" fmla="*/ 0 h 5537938"/>
              <a:gd name="connsiteX1" fmla="*/ 4922091 w 4922091"/>
              <a:gd name="connsiteY1" fmla="*/ 12279 h 5537938"/>
              <a:gd name="connsiteX2" fmla="*/ 2827595 w 4922091"/>
              <a:gd name="connsiteY2" fmla="*/ 5537938 h 5537938"/>
              <a:gd name="connsiteX3" fmla="*/ 0 w 4922091"/>
              <a:gd name="connsiteY3" fmla="*/ 5537938 h 5537938"/>
              <a:gd name="connsiteX4" fmla="*/ 4094 w 4922091"/>
              <a:gd name="connsiteY4" fmla="*/ 0 h 5537938"/>
              <a:gd name="connsiteX0" fmla="*/ 4094 w 4926184"/>
              <a:gd name="connsiteY0" fmla="*/ 1 h 5537939"/>
              <a:gd name="connsiteX1" fmla="*/ 4926184 w 4926184"/>
              <a:gd name="connsiteY1" fmla="*/ 0 h 5537939"/>
              <a:gd name="connsiteX2" fmla="*/ 2827595 w 4926184"/>
              <a:gd name="connsiteY2" fmla="*/ 5537939 h 5537939"/>
              <a:gd name="connsiteX3" fmla="*/ 0 w 4926184"/>
              <a:gd name="connsiteY3" fmla="*/ 5537939 h 5537939"/>
              <a:gd name="connsiteX4" fmla="*/ 4094 w 4926184"/>
              <a:gd name="connsiteY4" fmla="*/ 1 h 5537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26184" h="5537939">
                <a:moveTo>
                  <a:pt x="4094" y="1"/>
                </a:moveTo>
                <a:lnTo>
                  <a:pt x="4926184" y="0"/>
                </a:lnTo>
                <a:lnTo>
                  <a:pt x="2827595" y="5537939"/>
                </a:lnTo>
                <a:lnTo>
                  <a:pt x="0" y="5537939"/>
                </a:lnTo>
                <a:cubicBezTo>
                  <a:pt x="0" y="3693324"/>
                  <a:pt x="4094" y="1844616"/>
                  <a:pt x="4094" y="1"/>
                </a:cubicBez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0C1D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30A68E-DF48-486D-8622-E6914C45B0A6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E1F4D4-6383-4562-B0FB-7F2221633E0E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99A84D5-C8EC-484A-B5C8-027702F3B735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3C037ED-4AAE-4E31-B4F3-2CF9FDB39685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21991504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ransition slide B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1011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4B4FC7D-4393-4A68-A6C5-568B02850E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4116" y="1592263"/>
            <a:ext cx="5148261" cy="2334072"/>
          </a:xfrm>
        </p:spPr>
        <p:txBody>
          <a:bodyPr anchor="b"/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7DF24BF0-C3D8-4A33-9A94-03CE8CC973C2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104116" y="4093103"/>
            <a:ext cx="5148261" cy="171238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4" name="CuadroTexto 64">
            <a:extLst>
              <a:ext uri="{FF2B5EF4-FFF2-40B4-BE49-F238E27FC236}">
                <a16:creationId xmlns:a16="http://schemas.microsoft.com/office/drawing/2014/main" id="{CC2249F8-C077-487B-9BA3-4B911902A356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Marcador de posición de imagen 2">
            <a:extLst>
              <a:ext uri="{FF2B5EF4-FFF2-40B4-BE49-F238E27FC236}">
                <a16:creationId xmlns:a16="http://schemas.microsoft.com/office/drawing/2014/main" id="{6263FEED-8F20-45B8-9E35-81955D234A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9663" y="-7891"/>
            <a:ext cx="6113779" cy="6873015"/>
          </a:xfrm>
          <a:custGeom>
            <a:avLst/>
            <a:gdLst>
              <a:gd name="connsiteX0" fmla="*/ 0 w 4672405"/>
              <a:gd name="connsiteY0" fmla="*/ 0 h 6858000"/>
              <a:gd name="connsiteX1" fmla="*/ 4672405 w 4672405"/>
              <a:gd name="connsiteY1" fmla="*/ 0 h 6858000"/>
              <a:gd name="connsiteX2" fmla="*/ 4672405 w 4672405"/>
              <a:gd name="connsiteY2" fmla="*/ 6858000 h 6858000"/>
              <a:gd name="connsiteX3" fmla="*/ 0 w 4672405"/>
              <a:gd name="connsiteY3" fmla="*/ 6858000 h 6858000"/>
              <a:gd name="connsiteX4" fmla="*/ 0 w 4672405"/>
              <a:gd name="connsiteY4" fmla="*/ 0 h 6858000"/>
              <a:gd name="connsiteX0" fmla="*/ 0 w 4672405"/>
              <a:gd name="connsiteY0" fmla="*/ 0 h 6860046"/>
              <a:gd name="connsiteX1" fmla="*/ 4672405 w 4672405"/>
              <a:gd name="connsiteY1" fmla="*/ 0 h 6860046"/>
              <a:gd name="connsiteX2" fmla="*/ 2080582 w 4672405"/>
              <a:gd name="connsiteY2" fmla="*/ 6860046 h 6860046"/>
              <a:gd name="connsiteX3" fmla="*/ 0 w 4672405"/>
              <a:gd name="connsiteY3" fmla="*/ 6858000 h 6860046"/>
              <a:gd name="connsiteX4" fmla="*/ 0 w 4672405"/>
              <a:gd name="connsiteY4" fmla="*/ 0 h 6860046"/>
              <a:gd name="connsiteX0" fmla="*/ 0 w 4193499"/>
              <a:gd name="connsiteY0" fmla="*/ 0 h 6860046"/>
              <a:gd name="connsiteX1" fmla="*/ 4193499 w 4193499"/>
              <a:gd name="connsiteY1" fmla="*/ 1270943 h 6860046"/>
              <a:gd name="connsiteX2" fmla="*/ 2080582 w 4193499"/>
              <a:gd name="connsiteY2" fmla="*/ 6860046 h 6860046"/>
              <a:gd name="connsiteX3" fmla="*/ 0 w 4193499"/>
              <a:gd name="connsiteY3" fmla="*/ 6858000 h 6860046"/>
              <a:gd name="connsiteX4" fmla="*/ 0 w 4193499"/>
              <a:gd name="connsiteY4" fmla="*/ 0 h 6860046"/>
              <a:gd name="connsiteX0" fmla="*/ 0 w 4193499"/>
              <a:gd name="connsiteY0" fmla="*/ 24560 h 5589103"/>
              <a:gd name="connsiteX1" fmla="*/ 4193499 w 4193499"/>
              <a:gd name="connsiteY1" fmla="*/ 0 h 5589103"/>
              <a:gd name="connsiteX2" fmla="*/ 2080582 w 4193499"/>
              <a:gd name="connsiteY2" fmla="*/ 5589103 h 5589103"/>
              <a:gd name="connsiteX3" fmla="*/ 0 w 4193499"/>
              <a:gd name="connsiteY3" fmla="*/ 5587057 h 5589103"/>
              <a:gd name="connsiteX4" fmla="*/ 0 w 4193499"/>
              <a:gd name="connsiteY4" fmla="*/ 24560 h 5589103"/>
              <a:gd name="connsiteX0" fmla="*/ 0 w 4201685"/>
              <a:gd name="connsiteY0" fmla="*/ 1 h 5564544"/>
              <a:gd name="connsiteX1" fmla="*/ 4201685 w 4201685"/>
              <a:gd name="connsiteY1" fmla="*/ 0 h 5564544"/>
              <a:gd name="connsiteX2" fmla="*/ 2080582 w 4201685"/>
              <a:gd name="connsiteY2" fmla="*/ 5564544 h 5564544"/>
              <a:gd name="connsiteX3" fmla="*/ 0 w 4201685"/>
              <a:gd name="connsiteY3" fmla="*/ 5562498 h 5564544"/>
              <a:gd name="connsiteX4" fmla="*/ 0 w 4201685"/>
              <a:gd name="connsiteY4" fmla="*/ 1 h 5564544"/>
              <a:gd name="connsiteX0" fmla="*/ 712220 w 4913905"/>
              <a:gd name="connsiteY0" fmla="*/ 1 h 5564544"/>
              <a:gd name="connsiteX1" fmla="*/ 4913905 w 4913905"/>
              <a:gd name="connsiteY1" fmla="*/ 0 h 5564544"/>
              <a:gd name="connsiteX2" fmla="*/ 2792802 w 4913905"/>
              <a:gd name="connsiteY2" fmla="*/ 5564544 h 5564544"/>
              <a:gd name="connsiteX3" fmla="*/ 0 w 4913905"/>
              <a:gd name="connsiteY3" fmla="*/ 5533846 h 5564544"/>
              <a:gd name="connsiteX4" fmla="*/ 712220 w 4913905"/>
              <a:gd name="connsiteY4" fmla="*/ 1 h 5564544"/>
              <a:gd name="connsiteX0" fmla="*/ 712220 w 4913905"/>
              <a:gd name="connsiteY0" fmla="*/ 1 h 5533846"/>
              <a:gd name="connsiteX1" fmla="*/ 4913905 w 4913905"/>
              <a:gd name="connsiteY1" fmla="*/ 0 h 5533846"/>
              <a:gd name="connsiteX2" fmla="*/ 2813269 w 4913905"/>
              <a:gd name="connsiteY2" fmla="*/ 5523612 h 5533846"/>
              <a:gd name="connsiteX3" fmla="*/ 0 w 4913905"/>
              <a:gd name="connsiteY3" fmla="*/ 5533846 h 5533846"/>
              <a:gd name="connsiteX4" fmla="*/ 712220 w 4913905"/>
              <a:gd name="connsiteY4" fmla="*/ 1 h 5533846"/>
              <a:gd name="connsiteX0" fmla="*/ 1 w 4913905"/>
              <a:gd name="connsiteY0" fmla="*/ 1 h 5533846"/>
              <a:gd name="connsiteX1" fmla="*/ 4913905 w 4913905"/>
              <a:gd name="connsiteY1" fmla="*/ 0 h 5533846"/>
              <a:gd name="connsiteX2" fmla="*/ 2813269 w 4913905"/>
              <a:gd name="connsiteY2" fmla="*/ 5523612 h 5533846"/>
              <a:gd name="connsiteX3" fmla="*/ 0 w 4913905"/>
              <a:gd name="connsiteY3" fmla="*/ 5533846 h 5533846"/>
              <a:gd name="connsiteX4" fmla="*/ 1 w 4913905"/>
              <a:gd name="connsiteY4" fmla="*/ 1 h 5533846"/>
              <a:gd name="connsiteX0" fmla="*/ 1 w 4913905"/>
              <a:gd name="connsiteY0" fmla="*/ 1 h 5523612"/>
              <a:gd name="connsiteX1" fmla="*/ 4913905 w 4913905"/>
              <a:gd name="connsiteY1" fmla="*/ 0 h 5523612"/>
              <a:gd name="connsiteX2" fmla="*/ 2813269 w 4913905"/>
              <a:gd name="connsiteY2" fmla="*/ 5523612 h 5523612"/>
              <a:gd name="connsiteX3" fmla="*/ 0 w 4913905"/>
              <a:gd name="connsiteY3" fmla="*/ 5521566 h 5523612"/>
              <a:gd name="connsiteX4" fmla="*/ 1 w 4913905"/>
              <a:gd name="connsiteY4" fmla="*/ 1 h 5523612"/>
              <a:gd name="connsiteX0" fmla="*/ 1 w 4913905"/>
              <a:gd name="connsiteY0" fmla="*/ 1 h 5521566"/>
              <a:gd name="connsiteX1" fmla="*/ 4913905 w 4913905"/>
              <a:gd name="connsiteY1" fmla="*/ 0 h 5521566"/>
              <a:gd name="connsiteX2" fmla="*/ 2819409 w 4913905"/>
              <a:gd name="connsiteY2" fmla="*/ 5517472 h 5521566"/>
              <a:gd name="connsiteX3" fmla="*/ 0 w 4913905"/>
              <a:gd name="connsiteY3" fmla="*/ 5521566 h 5521566"/>
              <a:gd name="connsiteX4" fmla="*/ 1 w 4913905"/>
              <a:gd name="connsiteY4" fmla="*/ 1 h 5521566"/>
              <a:gd name="connsiteX0" fmla="*/ 8187 w 4922091"/>
              <a:gd name="connsiteY0" fmla="*/ 1 h 5525659"/>
              <a:gd name="connsiteX1" fmla="*/ 4922091 w 4922091"/>
              <a:gd name="connsiteY1" fmla="*/ 0 h 5525659"/>
              <a:gd name="connsiteX2" fmla="*/ 2827595 w 4922091"/>
              <a:gd name="connsiteY2" fmla="*/ 5517472 h 5525659"/>
              <a:gd name="connsiteX3" fmla="*/ 0 w 4922091"/>
              <a:gd name="connsiteY3" fmla="*/ 5525659 h 5525659"/>
              <a:gd name="connsiteX4" fmla="*/ 8187 w 4922091"/>
              <a:gd name="connsiteY4" fmla="*/ 1 h 5525659"/>
              <a:gd name="connsiteX0" fmla="*/ 8187 w 4922091"/>
              <a:gd name="connsiteY0" fmla="*/ 1 h 5525659"/>
              <a:gd name="connsiteX1" fmla="*/ 4922091 w 4922091"/>
              <a:gd name="connsiteY1" fmla="*/ 0 h 5525659"/>
              <a:gd name="connsiteX2" fmla="*/ 2827595 w 4922091"/>
              <a:gd name="connsiteY2" fmla="*/ 5525659 h 5525659"/>
              <a:gd name="connsiteX3" fmla="*/ 0 w 4922091"/>
              <a:gd name="connsiteY3" fmla="*/ 5525659 h 5525659"/>
              <a:gd name="connsiteX4" fmla="*/ 8187 w 4922091"/>
              <a:gd name="connsiteY4" fmla="*/ 1 h 5525659"/>
              <a:gd name="connsiteX0" fmla="*/ 4094 w 4922091"/>
              <a:gd name="connsiteY0" fmla="*/ 0 h 5537938"/>
              <a:gd name="connsiteX1" fmla="*/ 4922091 w 4922091"/>
              <a:gd name="connsiteY1" fmla="*/ 12279 h 5537938"/>
              <a:gd name="connsiteX2" fmla="*/ 2827595 w 4922091"/>
              <a:gd name="connsiteY2" fmla="*/ 5537938 h 5537938"/>
              <a:gd name="connsiteX3" fmla="*/ 0 w 4922091"/>
              <a:gd name="connsiteY3" fmla="*/ 5537938 h 5537938"/>
              <a:gd name="connsiteX4" fmla="*/ 4094 w 4922091"/>
              <a:gd name="connsiteY4" fmla="*/ 0 h 5537938"/>
              <a:gd name="connsiteX0" fmla="*/ 4094 w 4926184"/>
              <a:gd name="connsiteY0" fmla="*/ 1 h 5537939"/>
              <a:gd name="connsiteX1" fmla="*/ 4926184 w 4926184"/>
              <a:gd name="connsiteY1" fmla="*/ 0 h 5537939"/>
              <a:gd name="connsiteX2" fmla="*/ 2827595 w 4926184"/>
              <a:gd name="connsiteY2" fmla="*/ 5537939 h 5537939"/>
              <a:gd name="connsiteX3" fmla="*/ 0 w 4926184"/>
              <a:gd name="connsiteY3" fmla="*/ 5537939 h 5537939"/>
              <a:gd name="connsiteX4" fmla="*/ 4094 w 4926184"/>
              <a:gd name="connsiteY4" fmla="*/ 1 h 5537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26184" h="5537939">
                <a:moveTo>
                  <a:pt x="4094" y="1"/>
                </a:moveTo>
                <a:lnTo>
                  <a:pt x="4926184" y="0"/>
                </a:lnTo>
                <a:lnTo>
                  <a:pt x="2827595" y="5537939"/>
                </a:lnTo>
                <a:lnTo>
                  <a:pt x="0" y="5537939"/>
                </a:lnTo>
                <a:cubicBezTo>
                  <a:pt x="0" y="3693324"/>
                  <a:pt x="4094" y="1844616"/>
                  <a:pt x="4094" y="1"/>
                </a:cubicBez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0C1D7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387E680-44F3-47E4-A513-E74FA9C58646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EE3D7A6-1498-4A64-9D2E-3E4F8B3C0DA8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66434CB-3B14-4C6A-AC9E-E59DCB483772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DB4F380-0003-491D-9489-207F6C9CEAC0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67869565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ition slide A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799C6CA-CACC-40BA-A825-A176D22A8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5847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4" progId="TCLayout.ActiveDocument.1">
                  <p:embed/>
                </p:oleObj>
              </mc:Choice>
              <mc:Fallback>
                <p:oleObj name="think-cell Slide" r:id="rId4" imgW="473" imgH="47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799C6CA-CACC-40BA-A825-A176D22A8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0FC0C89-C1CE-4776-A3D4-6245EB1A333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4B4FC7D-4393-4A68-A6C5-568B02850E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1592263"/>
            <a:ext cx="6840536" cy="2334072"/>
          </a:xfrm>
        </p:spPr>
        <p:txBody>
          <a:bodyPr anchor="b"/>
          <a:lstStyle>
            <a:lvl1pPr>
              <a:defRPr sz="3600">
                <a:solidFill>
                  <a:srgbClr val="DA291C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Marcador de texto 2">
            <a:extLst>
              <a:ext uri="{FF2B5EF4-FFF2-40B4-BE49-F238E27FC236}">
                <a16:creationId xmlns:a16="http://schemas.microsoft.com/office/drawing/2014/main" id="{7DF24BF0-C3D8-4A33-9A94-03CE8CC973C2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947739" y="4093103"/>
            <a:ext cx="5148261" cy="171238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000000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err="1"/>
              <a:t>Subtitle</a:t>
            </a:r>
            <a:endParaRPr lang="es-ES"/>
          </a:p>
        </p:txBody>
      </p:sp>
      <p:sp>
        <p:nvSpPr>
          <p:cNvPr id="4" name="CuadroTexto 64">
            <a:extLst>
              <a:ext uri="{FF2B5EF4-FFF2-40B4-BE49-F238E27FC236}">
                <a16:creationId xmlns:a16="http://schemas.microsoft.com/office/drawing/2014/main" id="{CC2249F8-C077-487B-9BA3-4B911902A356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CuadroTexto 64">
            <a:extLst>
              <a:ext uri="{FF2B5EF4-FFF2-40B4-BE49-F238E27FC236}">
                <a16:creationId xmlns:a16="http://schemas.microsoft.com/office/drawing/2014/main" id="{08E9C9DD-93B5-4058-A8FA-3D88D1252332}"/>
              </a:ext>
            </a:extLst>
          </p:cNvPr>
          <p:cNvSpPr txBox="1"/>
          <p:nvPr userDrawn="1"/>
        </p:nvSpPr>
        <p:spPr>
          <a:xfrm>
            <a:off x="11034703" y="66016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Marcador de posición de imagen 2">
            <a:extLst>
              <a:ext uri="{FF2B5EF4-FFF2-40B4-BE49-F238E27FC236}">
                <a16:creationId xmlns:a16="http://schemas.microsoft.com/office/drawing/2014/main" id="{01A0055D-2CAB-40BB-85A4-984D8C439FB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38529" y="-14050"/>
            <a:ext cx="5670915" cy="6877222"/>
          </a:xfrm>
          <a:custGeom>
            <a:avLst/>
            <a:gdLst>
              <a:gd name="connsiteX0" fmla="*/ 0 w 4592124"/>
              <a:gd name="connsiteY0" fmla="*/ 0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0 w 4592124"/>
              <a:gd name="connsiteY4" fmla="*/ 0 h 6858000"/>
              <a:gd name="connsiteX0" fmla="*/ 2549525 w 4592124"/>
              <a:gd name="connsiteY0" fmla="*/ 1058 h 6858000"/>
              <a:gd name="connsiteX1" fmla="*/ 4592124 w 4592124"/>
              <a:gd name="connsiteY1" fmla="*/ 0 h 6858000"/>
              <a:gd name="connsiteX2" fmla="*/ 4592124 w 4592124"/>
              <a:gd name="connsiteY2" fmla="*/ 6858000 h 6858000"/>
              <a:gd name="connsiteX3" fmla="*/ 0 w 4592124"/>
              <a:gd name="connsiteY3" fmla="*/ 6858000 h 6858000"/>
              <a:gd name="connsiteX4" fmla="*/ 2549525 w 4592124"/>
              <a:gd name="connsiteY4" fmla="*/ 1058 h 6858000"/>
              <a:gd name="connsiteX0" fmla="*/ 2549525 w 4592124"/>
              <a:gd name="connsiteY0" fmla="*/ 0 h 6856942"/>
              <a:gd name="connsiteX1" fmla="*/ 4592124 w 4592124"/>
              <a:gd name="connsiteY1" fmla="*/ 1371762 h 6856942"/>
              <a:gd name="connsiteX2" fmla="*/ 4592124 w 4592124"/>
              <a:gd name="connsiteY2" fmla="*/ 6856942 h 6856942"/>
              <a:gd name="connsiteX3" fmla="*/ 0 w 4592124"/>
              <a:gd name="connsiteY3" fmla="*/ 6856942 h 6856942"/>
              <a:gd name="connsiteX4" fmla="*/ 2549525 w 4592124"/>
              <a:gd name="connsiteY4" fmla="*/ 0 h 6856942"/>
              <a:gd name="connsiteX0" fmla="*/ 2045812 w 4592124"/>
              <a:gd name="connsiteY0" fmla="*/ 1058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45812 w 4592124"/>
              <a:gd name="connsiteY4" fmla="*/ 1058 h 5485180"/>
              <a:gd name="connsiteX0" fmla="*/ 2028628 w 4592124"/>
              <a:gd name="connsiteY0" fmla="*/ 36027 h 5485180"/>
              <a:gd name="connsiteX1" fmla="*/ 4592124 w 4592124"/>
              <a:gd name="connsiteY1" fmla="*/ 0 h 5485180"/>
              <a:gd name="connsiteX2" fmla="*/ 4592124 w 4592124"/>
              <a:gd name="connsiteY2" fmla="*/ 5485180 h 5485180"/>
              <a:gd name="connsiteX3" fmla="*/ 0 w 4592124"/>
              <a:gd name="connsiteY3" fmla="*/ 5485180 h 5485180"/>
              <a:gd name="connsiteX4" fmla="*/ 2028628 w 4592124"/>
              <a:gd name="connsiteY4" fmla="*/ 36027 h 5485180"/>
              <a:gd name="connsiteX0" fmla="*/ 2028628 w 4592124"/>
              <a:gd name="connsiteY0" fmla="*/ 4509 h 5453662"/>
              <a:gd name="connsiteX1" fmla="*/ 4568296 w 4592124"/>
              <a:gd name="connsiteY1" fmla="*/ 0 h 5453662"/>
              <a:gd name="connsiteX2" fmla="*/ 4592124 w 4592124"/>
              <a:gd name="connsiteY2" fmla="*/ 5453662 h 5453662"/>
              <a:gd name="connsiteX3" fmla="*/ 0 w 4592124"/>
              <a:gd name="connsiteY3" fmla="*/ 5453662 h 5453662"/>
              <a:gd name="connsiteX4" fmla="*/ 2028628 w 4592124"/>
              <a:gd name="connsiteY4" fmla="*/ 4509 h 5453662"/>
              <a:gd name="connsiteX0" fmla="*/ 2028628 w 4743341"/>
              <a:gd name="connsiteY0" fmla="*/ 4509 h 5460656"/>
              <a:gd name="connsiteX1" fmla="*/ 4568296 w 4743341"/>
              <a:gd name="connsiteY1" fmla="*/ 0 h 5460656"/>
              <a:gd name="connsiteX2" fmla="*/ 4743341 w 4743341"/>
              <a:gd name="connsiteY2" fmla="*/ 5460656 h 5460656"/>
              <a:gd name="connsiteX3" fmla="*/ 0 w 4743341"/>
              <a:gd name="connsiteY3" fmla="*/ 5453662 h 5460656"/>
              <a:gd name="connsiteX4" fmla="*/ 2028628 w 4743341"/>
              <a:gd name="connsiteY4" fmla="*/ 4509 h 5460656"/>
              <a:gd name="connsiteX0" fmla="*/ 2028628 w 4760755"/>
              <a:gd name="connsiteY0" fmla="*/ 4509 h 5460656"/>
              <a:gd name="connsiteX1" fmla="*/ 4760755 w 4760755"/>
              <a:gd name="connsiteY1" fmla="*/ 0 h 5460656"/>
              <a:gd name="connsiteX2" fmla="*/ 4743341 w 4760755"/>
              <a:gd name="connsiteY2" fmla="*/ 5460656 h 5460656"/>
              <a:gd name="connsiteX3" fmla="*/ 0 w 4760755"/>
              <a:gd name="connsiteY3" fmla="*/ 5453662 h 5460656"/>
              <a:gd name="connsiteX4" fmla="*/ 2028628 w 4760755"/>
              <a:gd name="connsiteY4" fmla="*/ 4509 h 5460656"/>
              <a:gd name="connsiteX0" fmla="*/ 2042201 w 4774328"/>
              <a:gd name="connsiteY0" fmla="*/ 4509 h 5467473"/>
              <a:gd name="connsiteX1" fmla="*/ 4774328 w 4774328"/>
              <a:gd name="connsiteY1" fmla="*/ 0 h 5467473"/>
              <a:gd name="connsiteX2" fmla="*/ 4756914 w 4774328"/>
              <a:gd name="connsiteY2" fmla="*/ 5460656 h 5467473"/>
              <a:gd name="connsiteX3" fmla="*/ 0 w 4774328"/>
              <a:gd name="connsiteY3" fmla="*/ 5467473 h 5467473"/>
              <a:gd name="connsiteX4" fmla="*/ 2042201 w 4774328"/>
              <a:gd name="connsiteY4" fmla="*/ 4509 h 5467473"/>
              <a:gd name="connsiteX0" fmla="*/ 2042201 w 4774328"/>
              <a:gd name="connsiteY0" fmla="*/ 4509 h 5474466"/>
              <a:gd name="connsiteX1" fmla="*/ 4774328 w 4774328"/>
              <a:gd name="connsiteY1" fmla="*/ 0 h 5474466"/>
              <a:gd name="connsiteX2" fmla="*/ 4765962 w 4774328"/>
              <a:gd name="connsiteY2" fmla="*/ 5474466 h 5474466"/>
              <a:gd name="connsiteX3" fmla="*/ 0 w 4774328"/>
              <a:gd name="connsiteY3" fmla="*/ 5467473 h 5474466"/>
              <a:gd name="connsiteX4" fmla="*/ 2042201 w 4774328"/>
              <a:gd name="connsiteY4" fmla="*/ 4509 h 5474466"/>
              <a:gd name="connsiteX0" fmla="*/ 2042201 w 4778853"/>
              <a:gd name="connsiteY0" fmla="*/ 0 h 5469957"/>
              <a:gd name="connsiteX1" fmla="*/ 4778853 w 4778853"/>
              <a:gd name="connsiteY1" fmla="*/ 4698 h 5469957"/>
              <a:gd name="connsiteX2" fmla="*/ 4765962 w 4778853"/>
              <a:gd name="connsiteY2" fmla="*/ 5469957 h 5469957"/>
              <a:gd name="connsiteX3" fmla="*/ 0 w 4778853"/>
              <a:gd name="connsiteY3" fmla="*/ 5462964 h 5469957"/>
              <a:gd name="connsiteX4" fmla="*/ 2042201 w 4778853"/>
              <a:gd name="connsiteY4" fmla="*/ 0 h 5469957"/>
              <a:gd name="connsiteX0" fmla="*/ 2042201 w 4781135"/>
              <a:gd name="connsiteY0" fmla="*/ 0 h 5462964"/>
              <a:gd name="connsiteX1" fmla="*/ 4778853 w 4781135"/>
              <a:gd name="connsiteY1" fmla="*/ 4698 h 5462964"/>
              <a:gd name="connsiteX2" fmla="*/ 4779535 w 4781135"/>
              <a:gd name="connsiteY2" fmla="*/ 5460751 h 5462964"/>
              <a:gd name="connsiteX3" fmla="*/ 0 w 4781135"/>
              <a:gd name="connsiteY3" fmla="*/ 5462964 h 5462964"/>
              <a:gd name="connsiteX4" fmla="*/ 2042201 w 4781135"/>
              <a:gd name="connsiteY4" fmla="*/ 0 h 5462964"/>
              <a:gd name="connsiteX0" fmla="*/ 2046725 w 4781135"/>
              <a:gd name="connsiteY0" fmla="*/ 0 h 5467567"/>
              <a:gd name="connsiteX1" fmla="*/ 4778853 w 4781135"/>
              <a:gd name="connsiteY1" fmla="*/ 9301 h 5467567"/>
              <a:gd name="connsiteX2" fmla="*/ 4779535 w 4781135"/>
              <a:gd name="connsiteY2" fmla="*/ 5465354 h 5467567"/>
              <a:gd name="connsiteX3" fmla="*/ 0 w 4781135"/>
              <a:gd name="connsiteY3" fmla="*/ 5467567 h 5467567"/>
              <a:gd name="connsiteX4" fmla="*/ 2046725 w 4781135"/>
              <a:gd name="connsiteY4" fmla="*/ 0 h 5467567"/>
              <a:gd name="connsiteX0" fmla="*/ 2046725 w 4779604"/>
              <a:gd name="connsiteY0" fmla="*/ 2821 h 5470388"/>
              <a:gd name="connsiteX1" fmla="*/ 4433343 w 4779604"/>
              <a:gd name="connsiteY1" fmla="*/ 0 h 5470388"/>
              <a:gd name="connsiteX2" fmla="*/ 4779535 w 4779604"/>
              <a:gd name="connsiteY2" fmla="*/ 5468175 h 5470388"/>
              <a:gd name="connsiteX3" fmla="*/ 0 w 4779604"/>
              <a:gd name="connsiteY3" fmla="*/ 5470388 h 5470388"/>
              <a:gd name="connsiteX4" fmla="*/ 2046725 w 4779604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  <a:gd name="connsiteX0" fmla="*/ 2046725 w 4433343"/>
              <a:gd name="connsiteY0" fmla="*/ 2821 h 5470388"/>
              <a:gd name="connsiteX1" fmla="*/ 4433343 w 4433343"/>
              <a:gd name="connsiteY1" fmla="*/ 0 h 5470388"/>
              <a:gd name="connsiteX2" fmla="*/ 4426082 w 4433343"/>
              <a:gd name="connsiteY2" fmla="*/ 5468175 h 5470388"/>
              <a:gd name="connsiteX3" fmla="*/ 0 w 4433343"/>
              <a:gd name="connsiteY3" fmla="*/ 5470388 h 5470388"/>
              <a:gd name="connsiteX4" fmla="*/ 2046725 w 4433343"/>
              <a:gd name="connsiteY4" fmla="*/ 2821 h 5470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3343" h="5470388">
                <a:moveTo>
                  <a:pt x="2046725" y="2821"/>
                </a:moveTo>
                <a:lnTo>
                  <a:pt x="4433343" y="0"/>
                </a:lnTo>
                <a:cubicBezTo>
                  <a:pt x="4427538" y="1820219"/>
                  <a:pt x="4431887" y="3647956"/>
                  <a:pt x="4426082" y="5468175"/>
                </a:cubicBezTo>
                <a:lnTo>
                  <a:pt x="0" y="5470388"/>
                </a:lnTo>
                <a:lnTo>
                  <a:pt x="2046725" y="2821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FF99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anchor="ctr"/>
          <a:lstStyle>
            <a:lvl1pPr marL="228600" marR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rgbClr val="FFFFFF"/>
                </a:solidFill>
              </a:defRPr>
            </a:lvl1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</a:t>
            </a:r>
            <a:br>
              <a:rPr lang="en-US"/>
            </a:br>
            <a:r>
              <a:rPr lang="en-US"/>
              <a:t>or click icon to ad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D381F68-55A6-4B62-A19C-D30D0BC35E2E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0761C0-2891-4857-B104-9307DA6B3462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E1C53BC-C2E9-4FC9-8C49-A7A61AFDFC62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C20233-19BB-4141-9983-89C3AD532B98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32290631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ull colour Transition">
    <p:bg>
      <p:bgPr>
        <a:gradFill flip="none" rotWithShape="1">
          <a:gsLst>
            <a:gs pos="0">
              <a:schemeClr val="accent1"/>
            </a:gs>
            <a:gs pos="100000">
              <a:schemeClr val="accent2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3107E2-3D7C-4EA6-A3AE-B45AC3CE49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623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4" progId="TCLayout.ActiveDocument.1">
                  <p:embed/>
                </p:oleObj>
              </mc:Choice>
              <mc:Fallback>
                <p:oleObj name="think-cell Slide" r:id="rId3" imgW="473" imgH="47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F3107E2-3D7C-4EA6-A3AE-B45AC3CE49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ítulo 1">
            <a:extLst>
              <a:ext uri="{FF2B5EF4-FFF2-40B4-BE49-F238E27FC236}">
                <a16:creationId xmlns:a16="http://schemas.microsoft.com/office/drawing/2014/main" id="{4BFB3231-EC8D-AC43-B9D1-D6556772F6F4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524000" y="3189051"/>
            <a:ext cx="9144000" cy="553998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36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s-ES"/>
          </a:p>
        </p:txBody>
      </p:sp>
      <p:sp>
        <p:nvSpPr>
          <p:cNvPr id="6" name="CuadroTexto 64">
            <a:extLst>
              <a:ext uri="{FF2B5EF4-FFF2-40B4-BE49-F238E27FC236}">
                <a16:creationId xmlns:a16="http://schemas.microsoft.com/office/drawing/2014/main" id="{5D5E7AF8-5D93-47BD-AFBA-EB4A85F3DADD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B481660-4229-42B8-B2AE-EA5AFAFC80B0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27CA11D-F2D9-41F7-825D-35C704A8B2C2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E6655F1-117E-4D5A-8F14-FEBFA607B1AF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EBDE2D1-E8CF-40F0-9EF0-3A1FFFF8CC3F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410118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tags" Target="../tags/tag3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90" Type="http://schemas.openxmlformats.org/officeDocument/2006/relationships/oleObject" Target="../embeddings/oleObject1.bin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93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tags" Target="../tags/tag2.xml"/><Relationship Id="rId9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theme" Target="../theme/theme1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29.x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tags" Target="../tags/tag130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108.xml"/><Relationship Id="rId42" Type="http://schemas.openxmlformats.org/officeDocument/2006/relationships/slideLayout" Target="../slideLayouts/slideLayout129.xml"/><Relationship Id="rId47" Type="http://schemas.openxmlformats.org/officeDocument/2006/relationships/slideLayout" Target="../slideLayouts/slideLayout134.xml"/><Relationship Id="rId63" Type="http://schemas.openxmlformats.org/officeDocument/2006/relationships/slideLayout" Target="../slideLayouts/slideLayout150.xml"/><Relationship Id="rId68" Type="http://schemas.openxmlformats.org/officeDocument/2006/relationships/slideLayout" Target="../slideLayouts/slideLayout155.xml"/><Relationship Id="rId84" Type="http://schemas.openxmlformats.org/officeDocument/2006/relationships/slideLayout" Target="../slideLayouts/slideLayout171.xml"/><Relationship Id="rId89" Type="http://schemas.openxmlformats.org/officeDocument/2006/relationships/tags" Target="../tags/tag133.xml"/><Relationship Id="rId1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19.xml"/><Relationship Id="rId37" Type="http://schemas.openxmlformats.org/officeDocument/2006/relationships/slideLayout" Target="../slideLayouts/slideLayout124.xml"/><Relationship Id="rId53" Type="http://schemas.openxmlformats.org/officeDocument/2006/relationships/slideLayout" Target="../slideLayouts/slideLayout140.xml"/><Relationship Id="rId58" Type="http://schemas.openxmlformats.org/officeDocument/2006/relationships/slideLayout" Target="../slideLayouts/slideLayout145.xml"/><Relationship Id="rId74" Type="http://schemas.openxmlformats.org/officeDocument/2006/relationships/slideLayout" Target="../slideLayouts/slideLayout161.xml"/><Relationship Id="rId79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92.xml"/><Relationship Id="rId90" Type="http://schemas.openxmlformats.org/officeDocument/2006/relationships/tags" Target="../tags/tag134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Relationship Id="rId30" Type="http://schemas.openxmlformats.org/officeDocument/2006/relationships/slideLayout" Target="../slideLayouts/slideLayout117.xml"/><Relationship Id="rId35" Type="http://schemas.openxmlformats.org/officeDocument/2006/relationships/slideLayout" Target="../slideLayouts/slideLayout122.xml"/><Relationship Id="rId43" Type="http://schemas.openxmlformats.org/officeDocument/2006/relationships/slideLayout" Target="../slideLayouts/slideLayout130.xml"/><Relationship Id="rId48" Type="http://schemas.openxmlformats.org/officeDocument/2006/relationships/slideLayout" Target="../slideLayouts/slideLayout135.xml"/><Relationship Id="rId56" Type="http://schemas.openxmlformats.org/officeDocument/2006/relationships/slideLayout" Target="../slideLayouts/slideLayout143.xml"/><Relationship Id="rId64" Type="http://schemas.openxmlformats.org/officeDocument/2006/relationships/slideLayout" Target="../slideLayouts/slideLayout151.xml"/><Relationship Id="rId69" Type="http://schemas.openxmlformats.org/officeDocument/2006/relationships/slideLayout" Target="../slideLayouts/slideLayout156.xml"/><Relationship Id="rId77" Type="http://schemas.openxmlformats.org/officeDocument/2006/relationships/slideLayout" Target="../slideLayouts/slideLayout164.xml"/><Relationship Id="rId8" Type="http://schemas.openxmlformats.org/officeDocument/2006/relationships/slideLayout" Target="../slideLayouts/slideLayout95.xml"/><Relationship Id="rId51" Type="http://schemas.openxmlformats.org/officeDocument/2006/relationships/slideLayout" Target="../slideLayouts/slideLayout138.xml"/><Relationship Id="rId72" Type="http://schemas.openxmlformats.org/officeDocument/2006/relationships/slideLayout" Target="../slideLayouts/slideLayout159.xml"/><Relationship Id="rId80" Type="http://schemas.openxmlformats.org/officeDocument/2006/relationships/slideLayout" Target="../slideLayouts/slideLayout167.xml"/><Relationship Id="rId85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33" Type="http://schemas.openxmlformats.org/officeDocument/2006/relationships/slideLayout" Target="../slideLayouts/slideLayout120.xml"/><Relationship Id="rId38" Type="http://schemas.openxmlformats.org/officeDocument/2006/relationships/slideLayout" Target="../slideLayouts/slideLayout125.xml"/><Relationship Id="rId46" Type="http://schemas.openxmlformats.org/officeDocument/2006/relationships/slideLayout" Target="../slideLayouts/slideLayout133.xml"/><Relationship Id="rId59" Type="http://schemas.openxmlformats.org/officeDocument/2006/relationships/slideLayout" Target="../slideLayouts/slideLayout146.xml"/><Relationship Id="rId67" Type="http://schemas.openxmlformats.org/officeDocument/2006/relationships/slideLayout" Target="../slideLayouts/slideLayout154.xml"/><Relationship Id="rId20" Type="http://schemas.openxmlformats.org/officeDocument/2006/relationships/slideLayout" Target="../slideLayouts/slideLayout107.xml"/><Relationship Id="rId41" Type="http://schemas.openxmlformats.org/officeDocument/2006/relationships/slideLayout" Target="../slideLayouts/slideLayout128.xml"/><Relationship Id="rId54" Type="http://schemas.openxmlformats.org/officeDocument/2006/relationships/slideLayout" Target="../slideLayouts/slideLayout141.xml"/><Relationship Id="rId62" Type="http://schemas.openxmlformats.org/officeDocument/2006/relationships/slideLayout" Target="../slideLayouts/slideLayout149.xml"/><Relationship Id="rId70" Type="http://schemas.openxmlformats.org/officeDocument/2006/relationships/slideLayout" Target="../slideLayouts/slideLayout157.xml"/><Relationship Id="rId75" Type="http://schemas.openxmlformats.org/officeDocument/2006/relationships/slideLayout" Target="../slideLayouts/slideLayout162.xml"/><Relationship Id="rId83" Type="http://schemas.openxmlformats.org/officeDocument/2006/relationships/slideLayout" Target="../slideLayouts/slideLayout170.xml"/><Relationship Id="rId88" Type="http://schemas.openxmlformats.org/officeDocument/2006/relationships/theme" Target="../theme/theme3.xml"/><Relationship Id="rId91" Type="http://schemas.openxmlformats.org/officeDocument/2006/relationships/oleObject" Target="../embeddings/oleObject67.bin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slideLayout" Target="../slideLayouts/slideLayout115.xml"/><Relationship Id="rId36" Type="http://schemas.openxmlformats.org/officeDocument/2006/relationships/slideLayout" Target="../slideLayouts/slideLayout123.xml"/><Relationship Id="rId49" Type="http://schemas.openxmlformats.org/officeDocument/2006/relationships/slideLayout" Target="../slideLayouts/slideLayout136.xml"/><Relationship Id="rId57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97.xml"/><Relationship Id="rId31" Type="http://schemas.openxmlformats.org/officeDocument/2006/relationships/slideLayout" Target="../slideLayouts/slideLayout118.xml"/><Relationship Id="rId44" Type="http://schemas.openxmlformats.org/officeDocument/2006/relationships/slideLayout" Target="../slideLayouts/slideLayout131.xml"/><Relationship Id="rId52" Type="http://schemas.openxmlformats.org/officeDocument/2006/relationships/slideLayout" Target="../slideLayouts/slideLayout139.xml"/><Relationship Id="rId60" Type="http://schemas.openxmlformats.org/officeDocument/2006/relationships/slideLayout" Target="../slideLayouts/slideLayout147.xml"/><Relationship Id="rId65" Type="http://schemas.openxmlformats.org/officeDocument/2006/relationships/slideLayout" Target="../slideLayouts/slideLayout152.xml"/><Relationship Id="rId73" Type="http://schemas.openxmlformats.org/officeDocument/2006/relationships/slideLayout" Target="../slideLayouts/slideLayout160.xml"/><Relationship Id="rId78" Type="http://schemas.openxmlformats.org/officeDocument/2006/relationships/slideLayout" Target="../slideLayouts/slideLayout165.xml"/><Relationship Id="rId81" Type="http://schemas.openxmlformats.org/officeDocument/2006/relationships/slideLayout" Target="../slideLayouts/slideLayout168.xml"/><Relationship Id="rId86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39" Type="http://schemas.openxmlformats.org/officeDocument/2006/relationships/slideLayout" Target="../slideLayouts/slideLayout126.xml"/><Relationship Id="rId34" Type="http://schemas.openxmlformats.org/officeDocument/2006/relationships/slideLayout" Target="../slideLayouts/slideLayout121.xml"/><Relationship Id="rId50" Type="http://schemas.openxmlformats.org/officeDocument/2006/relationships/slideLayout" Target="../slideLayouts/slideLayout137.xml"/><Relationship Id="rId55" Type="http://schemas.openxmlformats.org/officeDocument/2006/relationships/slideLayout" Target="../slideLayouts/slideLayout142.xml"/><Relationship Id="rId76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94.xml"/><Relationship Id="rId71" Type="http://schemas.openxmlformats.org/officeDocument/2006/relationships/slideLayout" Target="../slideLayouts/slideLayout158.xml"/><Relationship Id="rId92" Type="http://schemas.openxmlformats.org/officeDocument/2006/relationships/image" Target="../media/image1.emf"/><Relationship Id="rId2" Type="http://schemas.openxmlformats.org/officeDocument/2006/relationships/slideLayout" Target="../slideLayouts/slideLayout89.xml"/><Relationship Id="rId29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11.xml"/><Relationship Id="rId40" Type="http://schemas.openxmlformats.org/officeDocument/2006/relationships/slideLayout" Target="../slideLayouts/slideLayout127.xml"/><Relationship Id="rId45" Type="http://schemas.openxmlformats.org/officeDocument/2006/relationships/slideLayout" Target="../slideLayouts/slideLayout132.xml"/><Relationship Id="rId66" Type="http://schemas.openxmlformats.org/officeDocument/2006/relationships/slideLayout" Target="../slideLayouts/slideLayout153.xml"/><Relationship Id="rId87" Type="http://schemas.openxmlformats.org/officeDocument/2006/relationships/slideLayout" Target="../slideLayouts/slideLayout174.xml"/><Relationship Id="rId61" Type="http://schemas.openxmlformats.org/officeDocument/2006/relationships/slideLayout" Target="../slideLayouts/slideLayout148.xml"/><Relationship Id="rId82" Type="http://schemas.openxmlformats.org/officeDocument/2006/relationships/slideLayout" Target="../slideLayouts/slideLayout169.xml"/><Relationship Id="rId19" Type="http://schemas.openxmlformats.org/officeDocument/2006/relationships/slideLayout" Target="../slideLayouts/slideLayout10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3C9BE0B-3F56-44E1-8B59-B57673D24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8"/>
            </p:custDataLst>
            <p:extLst>
              <p:ext uri="{D42A27DB-BD31-4B8C-83A1-F6EECF244321}">
                <p14:modId xmlns:p14="http://schemas.microsoft.com/office/powerpoint/2010/main" val="2298276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0" imgW="473" imgH="473" progId="TCLayout.ActiveDocument.1">
                  <p:embed/>
                </p:oleObj>
              </mc:Choice>
              <mc:Fallback>
                <p:oleObj name="think-cell Slide" r:id="rId90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3C9BE0B-3F56-44E1-8B59-B57673D24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A207068-595A-449F-9005-546C42C36DE3}"/>
              </a:ext>
            </a:extLst>
          </p:cNvPr>
          <p:cNvSpPr/>
          <p:nvPr userDrawn="1">
            <p:custDataLst>
              <p:tags r:id="rId8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62" name="Graphic 10">
            <a:extLst>
              <a:ext uri="{FF2B5EF4-FFF2-40B4-BE49-F238E27FC236}">
                <a16:creationId xmlns:a16="http://schemas.microsoft.com/office/drawing/2014/main" id="{D9AAF837-5663-3E44-AF80-3E2DC7183F40}"/>
              </a:ext>
            </a:extLst>
          </p:cNvPr>
          <p:cNvPicPr>
            <a:picLocks noChangeAspect="1"/>
          </p:cNvPicPr>
          <p:nvPr userDrawn="1"/>
        </p:nvPicPr>
        <p:blipFill>
          <a:blip r:embed="rId9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3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65" name="CuadroTexto 64">
            <a:extLst>
              <a:ext uri="{FF2B5EF4-FFF2-40B4-BE49-F238E27FC236}">
                <a16:creationId xmlns:a16="http://schemas.microsoft.com/office/drawing/2014/main" id="{2FD82B3F-E344-3B48-AB69-6E4DBA9F9179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F365F0CB-B5DF-475D-93EC-4EDD754B0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0" y="252000"/>
            <a:ext cx="11448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571A40-7734-434D-8617-53E1D1A057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7200" y="1397457"/>
            <a:ext cx="11448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2F74F7A8-FB8F-4805-A894-20E8158CFE2B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02A67B6-879B-4EB5-8CDF-AB9A7F8C317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25CF5C-4569-4C66-A5F1-D9B3116DD768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F892B3-9E47-412B-B900-EB098CEA8EEB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83F9029-24B0-4CE8-9949-5F2975029339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997178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781" r:id="rId2"/>
    <p:sldLayoutId id="2147483786" r:id="rId3"/>
    <p:sldLayoutId id="2147483690" r:id="rId4"/>
    <p:sldLayoutId id="2147483683" r:id="rId5"/>
    <p:sldLayoutId id="2147483719" r:id="rId6"/>
    <p:sldLayoutId id="2147483688" r:id="rId7"/>
    <p:sldLayoutId id="2147483721" r:id="rId8"/>
    <p:sldLayoutId id="2147483727" r:id="rId9"/>
    <p:sldLayoutId id="2147483733" r:id="rId10"/>
    <p:sldLayoutId id="2147483725" r:id="rId11"/>
    <p:sldLayoutId id="2147483784" r:id="rId12"/>
    <p:sldLayoutId id="2147483738" r:id="rId13"/>
    <p:sldLayoutId id="2147483730" r:id="rId14"/>
    <p:sldLayoutId id="2147483754" r:id="rId15"/>
    <p:sldLayoutId id="2147483739" r:id="rId16"/>
    <p:sldLayoutId id="2147483731" r:id="rId17"/>
    <p:sldLayoutId id="2147483761" r:id="rId18"/>
    <p:sldLayoutId id="2147483720" r:id="rId19"/>
    <p:sldLayoutId id="2147483735" r:id="rId20"/>
    <p:sldLayoutId id="2147483722" r:id="rId21"/>
    <p:sldLayoutId id="2147483723" r:id="rId22"/>
    <p:sldLayoutId id="2147483732" r:id="rId23"/>
    <p:sldLayoutId id="2147483668" r:id="rId24"/>
    <p:sldLayoutId id="2147483718" r:id="rId25"/>
    <p:sldLayoutId id="2147483678" r:id="rId26"/>
    <p:sldLayoutId id="2147483736" r:id="rId27"/>
    <p:sldLayoutId id="2147483679" r:id="rId28"/>
    <p:sldLayoutId id="2147483686" r:id="rId29"/>
    <p:sldLayoutId id="2147483762" r:id="rId30"/>
    <p:sldLayoutId id="2147483763" r:id="rId31"/>
    <p:sldLayoutId id="2147483764" r:id="rId32"/>
    <p:sldLayoutId id="2147483685" r:id="rId33"/>
    <p:sldLayoutId id="2147483667" r:id="rId34"/>
    <p:sldLayoutId id="2147483680" r:id="rId35"/>
    <p:sldLayoutId id="2147483669" r:id="rId36"/>
    <p:sldLayoutId id="2147483684" r:id="rId37"/>
    <p:sldLayoutId id="2147483776" r:id="rId38"/>
    <p:sldLayoutId id="2147483777" r:id="rId39"/>
    <p:sldLayoutId id="2147483687" r:id="rId40"/>
    <p:sldLayoutId id="2147483689" r:id="rId41"/>
    <p:sldLayoutId id="2147483677" r:id="rId42"/>
    <p:sldLayoutId id="2147483785" r:id="rId43"/>
    <p:sldLayoutId id="2147483682" r:id="rId44"/>
    <p:sldLayoutId id="2147483789" r:id="rId45"/>
    <p:sldLayoutId id="2147483790" r:id="rId46"/>
    <p:sldLayoutId id="2147483717" r:id="rId47"/>
    <p:sldLayoutId id="2147483791" r:id="rId48"/>
    <p:sldLayoutId id="2147483740" r:id="rId49"/>
    <p:sldLayoutId id="2147483741" r:id="rId50"/>
    <p:sldLayoutId id="2147483742" r:id="rId51"/>
    <p:sldLayoutId id="2147483743" r:id="rId52"/>
    <p:sldLayoutId id="2147483744" r:id="rId53"/>
    <p:sldLayoutId id="2147483745" r:id="rId54"/>
    <p:sldLayoutId id="2147483756" r:id="rId55"/>
    <p:sldLayoutId id="2147483774" r:id="rId56"/>
    <p:sldLayoutId id="2147483748" r:id="rId57"/>
    <p:sldLayoutId id="2147483749" r:id="rId58"/>
    <p:sldLayoutId id="2147483757" r:id="rId59"/>
    <p:sldLayoutId id="2147483765" r:id="rId60"/>
    <p:sldLayoutId id="2147483670" r:id="rId61"/>
    <p:sldLayoutId id="2147483724" r:id="rId62"/>
    <p:sldLayoutId id="2147483758" r:id="rId63"/>
    <p:sldLayoutId id="2147483759" r:id="rId64"/>
    <p:sldLayoutId id="2147483750" r:id="rId65"/>
    <p:sldLayoutId id="2147483751" r:id="rId66"/>
    <p:sldLayoutId id="2147483752" r:id="rId67"/>
    <p:sldLayoutId id="2147483753" r:id="rId68"/>
    <p:sldLayoutId id="2147483726" r:id="rId69"/>
    <p:sldLayoutId id="2147483769" r:id="rId70"/>
    <p:sldLayoutId id="2147483766" r:id="rId71"/>
    <p:sldLayoutId id="2147483767" r:id="rId72"/>
    <p:sldLayoutId id="2147483768" r:id="rId73"/>
    <p:sldLayoutId id="2147483770" r:id="rId74"/>
    <p:sldLayoutId id="2147483775" r:id="rId75"/>
    <p:sldLayoutId id="2147483772" r:id="rId76"/>
    <p:sldLayoutId id="2147483773" r:id="rId77"/>
    <p:sldLayoutId id="2147483771" r:id="rId78"/>
    <p:sldLayoutId id="2147483760" r:id="rId79"/>
    <p:sldLayoutId id="2147483778" r:id="rId80"/>
    <p:sldLayoutId id="2147483783" r:id="rId81"/>
    <p:sldLayoutId id="2147483779" r:id="rId82"/>
    <p:sldLayoutId id="2147483780" r:id="rId83"/>
    <p:sldLayoutId id="2147483782" r:id="rId84"/>
    <p:sldLayoutId id="2147483793" r:id="rId85"/>
    <p:sldLayoutId id="2147483792" r:id="rId8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800"/>
        </a:spcBef>
        <a:buFontTx/>
        <a:buNone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62800" indent="-262800" algn="l" defTabSz="914400" rtl="0" eaLnBrk="1" latinLnBrk="0" hangingPunct="1">
        <a:lnSpc>
          <a:spcPct val="10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6400" indent="-273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Neutraface Text Book" panose="02000600030000020004" pitchFamily="50" charset="0"/>
        <a:buChar char="—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12800" indent="-1764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Neutraface Text Book" panose="02000600030000020004" pitchFamily="50" charset="0"/>
        <a:buChar char="—"/>
        <a:defRPr lang="en-US" sz="1400" b="0" i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12800" indent="-1764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Neutraface Text Book" panose="02000600030000020004" pitchFamily="50" charset="0"/>
        <a:buChar char="—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597" userDrawn="1">
          <p15:clr>
            <a:srgbClr val="F26B43"/>
          </p15:clr>
        </p15:guide>
        <p15:guide id="4" pos="7061" userDrawn="1">
          <p15:clr>
            <a:srgbClr val="F26B43"/>
          </p15:clr>
        </p15:guide>
        <p15:guide id="5" pos="234" userDrawn="1">
          <p15:clr>
            <a:srgbClr val="F26B43"/>
          </p15:clr>
        </p15:guide>
        <p15:guide id="6" pos="7446" userDrawn="1">
          <p15:clr>
            <a:srgbClr val="F26B43"/>
          </p15:clr>
        </p15:guide>
        <p15:guide id="7" pos="2774" userDrawn="1">
          <p15:clr>
            <a:srgbClr val="F26B43"/>
          </p15:clr>
        </p15:guide>
        <p15:guide id="8" pos="2343" userDrawn="1">
          <p15:clr>
            <a:srgbClr val="F26B43"/>
          </p15:clr>
        </p15:guide>
        <p15:guide id="9" pos="4906" userDrawn="1">
          <p15:clr>
            <a:srgbClr val="F26B43"/>
          </p15:clr>
        </p15:guide>
        <p15:guide id="10" pos="5314" userDrawn="1">
          <p15:clr>
            <a:srgbClr val="F26B43"/>
          </p15:clr>
        </p15:guide>
        <p15:guide id="11" orient="horz" pos="323" userDrawn="1">
          <p15:clr>
            <a:srgbClr val="F26B43"/>
          </p15:clr>
        </p15:guide>
        <p15:guide id="12" orient="horz" pos="3875" userDrawn="1">
          <p15:clr>
            <a:srgbClr val="F26B43"/>
          </p15:clr>
        </p15:guide>
        <p15:guide id="13" orient="horz" pos="878" userDrawn="1">
          <p15:clr>
            <a:srgbClr val="F26B43"/>
          </p15:clr>
        </p15:guide>
        <p15:guide id="14" orient="horz" pos="166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3C9BE0B-3F56-44E1-8B59-B57673D24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3C9BE0B-3F56-44E1-8B59-B57673D24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A207068-595A-449F-9005-546C42C36DE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62" name="Graphic 10">
            <a:extLst>
              <a:ext uri="{FF2B5EF4-FFF2-40B4-BE49-F238E27FC236}">
                <a16:creationId xmlns:a16="http://schemas.microsoft.com/office/drawing/2014/main" id="{D9AAF837-5663-3E44-AF80-3E2DC7183F4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0517" y="6420188"/>
            <a:ext cx="675863" cy="162467"/>
          </a:xfrm>
          <a:prstGeom prst="rect">
            <a:avLst/>
          </a:prstGeom>
        </p:spPr>
      </p:pic>
      <p:sp>
        <p:nvSpPr>
          <p:cNvPr id="65" name="CuadroTexto 64">
            <a:extLst>
              <a:ext uri="{FF2B5EF4-FFF2-40B4-BE49-F238E27FC236}">
                <a16:creationId xmlns:a16="http://schemas.microsoft.com/office/drawing/2014/main" id="{2FD82B3F-E344-3B48-AB69-6E4DBA9F9179}"/>
              </a:ext>
            </a:extLst>
          </p:cNvPr>
          <p:cNvSpPr txBox="1"/>
          <p:nvPr userDrawn="1"/>
        </p:nvSpPr>
        <p:spPr>
          <a:xfrm>
            <a:off x="10882303" y="6449284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F365F0CB-B5DF-475D-93EC-4EDD754B0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0" y="252000"/>
            <a:ext cx="11448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571A40-7734-434D-8617-53E1D1A057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7200" y="1397457"/>
            <a:ext cx="11448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2F74F7A8-FB8F-4805-A894-20E8158CFE2B}"/>
              </a:ext>
            </a:extLst>
          </p:cNvPr>
          <p:cNvSpPr txBox="1"/>
          <p:nvPr userDrawn="1"/>
        </p:nvSpPr>
        <p:spPr>
          <a:xfrm>
            <a:off x="5361433" y="6449284"/>
            <a:ext cx="1475068" cy="1333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solidFill>
                  <a:schemeClr val="tx2"/>
                </a:solidFill>
                <a:ea typeface="Arial" charset="0"/>
                <a:cs typeface="Arial" charset="0"/>
              </a:rPr>
              <a:t>Adecco.c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02A67B6-879B-4EB5-8CDF-AB9A7F8C317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25CF5C-4569-4C66-A5F1-D9B3116DD768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F892B3-9E47-412B-B900-EB098CEA8EEB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83F9029-24B0-4CE8-9949-5F2975029339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997178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800"/>
        </a:spcBef>
        <a:buFontTx/>
        <a:buNone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62800" indent="-262800" algn="l" defTabSz="914400" rtl="0" eaLnBrk="1" latinLnBrk="0" hangingPunct="1">
        <a:lnSpc>
          <a:spcPct val="10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6400" indent="-273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Neutraface Text Book" panose="02000600030000020004" pitchFamily="50" charset="0"/>
        <a:buChar char="—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12800" indent="-1764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Neutraface Text Book" panose="02000600030000020004" pitchFamily="50" charset="0"/>
        <a:buChar char="—"/>
        <a:defRPr lang="en-US" sz="1400" b="0" i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12800" indent="-1764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Neutraface Text Book" panose="02000600030000020004" pitchFamily="50" charset="0"/>
        <a:buChar char="—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597" userDrawn="1">
          <p15:clr>
            <a:srgbClr val="F26B43"/>
          </p15:clr>
        </p15:guide>
        <p15:guide id="4" pos="7061" userDrawn="1">
          <p15:clr>
            <a:srgbClr val="F26B43"/>
          </p15:clr>
        </p15:guide>
        <p15:guide id="5" pos="234" userDrawn="1">
          <p15:clr>
            <a:srgbClr val="F26B43"/>
          </p15:clr>
        </p15:guide>
        <p15:guide id="6" pos="7446" userDrawn="1">
          <p15:clr>
            <a:srgbClr val="F26B43"/>
          </p15:clr>
        </p15:guide>
        <p15:guide id="7" pos="2774" userDrawn="1">
          <p15:clr>
            <a:srgbClr val="F26B43"/>
          </p15:clr>
        </p15:guide>
        <p15:guide id="8" pos="2343" userDrawn="1">
          <p15:clr>
            <a:srgbClr val="F26B43"/>
          </p15:clr>
        </p15:guide>
        <p15:guide id="9" pos="4906" userDrawn="1">
          <p15:clr>
            <a:srgbClr val="F26B43"/>
          </p15:clr>
        </p15:guide>
        <p15:guide id="10" pos="5314" userDrawn="1">
          <p15:clr>
            <a:srgbClr val="F26B43"/>
          </p15:clr>
        </p15:guide>
        <p15:guide id="11" orient="horz" pos="323" userDrawn="1">
          <p15:clr>
            <a:srgbClr val="F26B43"/>
          </p15:clr>
        </p15:guide>
        <p15:guide id="12" orient="horz" pos="3875" userDrawn="1">
          <p15:clr>
            <a:srgbClr val="F26B43"/>
          </p15:clr>
        </p15:guide>
        <p15:guide id="13" orient="horz" pos="878" userDrawn="1">
          <p15:clr>
            <a:srgbClr val="F26B43"/>
          </p15:clr>
        </p15:guide>
        <p15:guide id="14" orient="horz" pos="1661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3C9BE0B-3F56-44E1-8B59-B57673D24D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9"/>
            </p:custDataLst>
            <p:extLst>
              <p:ext uri="{D42A27DB-BD31-4B8C-83A1-F6EECF244321}">
                <p14:modId xmlns:p14="http://schemas.microsoft.com/office/powerpoint/2010/main" val="2298276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1" imgW="473" imgH="473" progId="TCLayout.ActiveDocument.1">
                  <p:embed/>
                </p:oleObj>
              </mc:Choice>
              <mc:Fallback>
                <p:oleObj name="think-cell Slide" r:id="rId91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3C9BE0B-3F56-44E1-8B59-B57673D24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A207068-595A-449F-9005-546C42C36DE3}"/>
              </a:ext>
            </a:extLst>
          </p:cNvPr>
          <p:cNvSpPr/>
          <p:nvPr userDrawn="1">
            <p:custDataLst>
              <p:tags r:id="rId9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F365F0CB-B5DF-475D-93EC-4EDD754B08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200" y="252000"/>
            <a:ext cx="11448000" cy="43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571A40-7734-434D-8617-53E1D1A057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7200" y="1397457"/>
            <a:ext cx="11448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02A67B6-879B-4EB5-8CDF-AB9A7F8C3175}"/>
              </a:ext>
            </a:extLst>
          </p:cNvPr>
          <p:cNvSpPr/>
          <p:nvPr userDrawn="1"/>
        </p:nvSpPr>
        <p:spPr>
          <a:xfrm>
            <a:off x="3051745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725CF5C-4569-4C66-A5F1-D9B3116DD768}"/>
              </a:ext>
            </a:extLst>
          </p:cNvPr>
          <p:cNvSpPr/>
          <p:nvPr userDrawn="1"/>
        </p:nvSpPr>
        <p:spPr>
          <a:xfrm>
            <a:off x="7490" y="-31251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F892B3-9E47-412B-B900-EB098CEA8EEB}"/>
              </a:ext>
            </a:extLst>
          </p:cNvPr>
          <p:cNvSpPr/>
          <p:nvPr userDrawn="1"/>
        </p:nvSpPr>
        <p:spPr>
          <a:xfrm>
            <a:off x="9149414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83F9029-24B0-4CE8-9949-5F2975029339}"/>
              </a:ext>
            </a:extLst>
          </p:cNvPr>
          <p:cNvSpPr/>
          <p:nvPr userDrawn="1"/>
        </p:nvSpPr>
        <p:spPr>
          <a:xfrm>
            <a:off x="6105159" y="-312646"/>
            <a:ext cx="3044255" cy="20834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16" name="CuadroTexto 64">
            <a:extLst>
              <a:ext uri="{FF2B5EF4-FFF2-40B4-BE49-F238E27FC236}">
                <a16:creationId xmlns:a16="http://schemas.microsoft.com/office/drawing/2014/main" id="{DFEFDCEB-AC2F-FD23-3154-918648F191CF}"/>
              </a:ext>
            </a:extLst>
          </p:cNvPr>
          <p:cNvSpPr txBox="1"/>
          <p:nvPr userDrawn="1"/>
        </p:nvSpPr>
        <p:spPr>
          <a:xfrm>
            <a:off x="10882303" y="6532859"/>
            <a:ext cx="93621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A4EEDD72-1D6A-6B46-BCFA-C211F73E9379}" type="slidenum">
              <a:rPr lang="es-ES" sz="900" b="1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s-ES" sz="900" b="1">
              <a:solidFill>
                <a:schemeClr val="accent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1471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  <p:sldLayoutId id="2147483815" r:id="rId19"/>
    <p:sldLayoutId id="2147483816" r:id="rId20"/>
    <p:sldLayoutId id="2147483817" r:id="rId21"/>
    <p:sldLayoutId id="2147483818" r:id="rId22"/>
    <p:sldLayoutId id="2147483819" r:id="rId23"/>
    <p:sldLayoutId id="2147483820" r:id="rId24"/>
    <p:sldLayoutId id="2147483821" r:id="rId25"/>
    <p:sldLayoutId id="2147483822" r:id="rId26"/>
    <p:sldLayoutId id="2147483823" r:id="rId27"/>
    <p:sldLayoutId id="2147483824" r:id="rId28"/>
    <p:sldLayoutId id="2147483825" r:id="rId29"/>
    <p:sldLayoutId id="2147483826" r:id="rId30"/>
    <p:sldLayoutId id="2147483827" r:id="rId31"/>
    <p:sldLayoutId id="2147483828" r:id="rId32"/>
    <p:sldLayoutId id="2147483829" r:id="rId33"/>
    <p:sldLayoutId id="2147483830" r:id="rId34"/>
    <p:sldLayoutId id="2147483831" r:id="rId35"/>
    <p:sldLayoutId id="2147483832" r:id="rId36"/>
    <p:sldLayoutId id="2147483833" r:id="rId37"/>
    <p:sldLayoutId id="2147483834" r:id="rId38"/>
    <p:sldLayoutId id="2147483835" r:id="rId39"/>
    <p:sldLayoutId id="2147483836" r:id="rId40"/>
    <p:sldLayoutId id="2147483837" r:id="rId41"/>
    <p:sldLayoutId id="2147483838" r:id="rId42"/>
    <p:sldLayoutId id="2147483839" r:id="rId43"/>
    <p:sldLayoutId id="2147483840" r:id="rId44"/>
    <p:sldLayoutId id="2147483841" r:id="rId45"/>
    <p:sldLayoutId id="2147483842" r:id="rId46"/>
    <p:sldLayoutId id="2147483843" r:id="rId47"/>
    <p:sldLayoutId id="2147483844" r:id="rId48"/>
    <p:sldLayoutId id="2147483845" r:id="rId49"/>
    <p:sldLayoutId id="2147483846" r:id="rId50"/>
    <p:sldLayoutId id="2147483847" r:id="rId51"/>
    <p:sldLayoutId id="2147483848" r:id="rId52"/>
    <p:sldLayoutId id="2147483849" r:id="rId53"/>
    <p:sldLayoutId id="2147483850" r:id="rId54"/>
    <p:sldLayoutId id="2147483851" r:id="rId55"/>
    <p:sldLayoutId id="2147483852" r:id="rId56"/>
    <p:sldLayoutId id="2147483853" r:id="rId57"/>
    <p:sldLayoutId id="2147483854" r:id="rId58"/>
    <p:sldLayoutId id="2147483855" r:id="rId59"/>
    <p:sldLayoutId id="2147483856" r:id="rId60"/>
    <p:sldLayoutId id="2147483857" r:id="rId61"/>
    <p:sldLayoutId id="2147483858" r:id="rId62"/>
    <p:sldLayoutId id="2147483859" r:id="rId63"/>
    <p:sldLayoutId id="2147483860" r:id="rId64"/>
    <p:sldLayoutId id="2147483861" r:id="rId65"/>
    <p:sldLayoutId id="2147483862" r:id="rId66"/>
    <p:sldLayoutId id="2147483863" r:id="rId67"/>
    <p:sldLayoutId id="2147483864" r:id="rId68"/>
    <p:sldLayoutId id="2147483865" r:id="rId69"/>
    <p:sldLayoutId id="2147483866" r:id="rId70"/>
    <p:sldLayoutId id="2147483867" r:id="rId71"/>
    <p:sldLayoutId id="2147483868" r:id="rId72"/>
    <p:sldLayoutId id="2147483869" r:id="rId73"/>
    <p:sldLayoutId id="2147483870" r:id="rId74"/>
    <p:sldLayoutId id="2147483871" r:id="rId75"/>
    <p:sldLayoutId id="2147483872" r:id="rId76"/>
    <p:sldLayoutId id="2147483873" r:id="rId77"/>
    <p:sldLayoutId id="2147483874" r:id="rId78"/>
    <p:sldLayoutId id="2147483875" r:id="rId79"/>
    <p:sldLayoutId id="2147483876" r:id="rId80"/>
    <p:sldLayoutId id="2147483877" r:id="rId81"/>
    <p:sldLayoutId id="2147483878" r:id="rId82"/>
    <p:sldLayoutId id="2147483879" r:id="rId83"/>
    <p:sldLayoutId id="2147483880" r:id="rId84"/>
    <p:sldLayoutId id="2147483881" r:id="rId85"/>
    <p:sldLayoutId id="2147483882" r:id="rId86"/>
    <p:sldLayoutId id="2147483883" r:id="rId8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800"/>
        </a:spcBef>
        <a:buFontTx/>
        <a:buNone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62800" indent="-262800" algn="l" defTabSz="914400" rtl="0" eaLnBrk="1" latinLnBrk="0" hangingPunct="1">
        <a:lnSpc>
          <a:spcPct val="10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6400" indent="-273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Neutraface Text Book" panose="02000600030000020004" pitchFamily="50" charset="0"/>
        <a:buChar char="—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12800" indent="-1764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Neutraface Text Book" panose="02000600030000020004" pitchFamily="50" charset="0"/>
        <a:buChar char="—"/>
        <a:defRPr lang="en-US" sz="1400" b="0" i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12800" indent="-176400" algn="l" defTabSz="9144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Neutraface Text Book" panose="02000600030000020004" pitchFamily="50" charset="0"/>
        <a:buChar char="—"/>
        <a:defRPr sz="16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597">
          <p15:clr>
            <a:srgbClr val="F26B43"/>
          </p15:clr>
        </p15:guide>
        <p15:guide id="4" pos="7061">
          <p15:clr>
            <a:srgbClr val="F26B43"/>
          </p15:clr>
        </p15:guide>
        <p15:guide id="5" pos="234">
          <p15:clr>
            <a:srgbClr val="F26B43"/>
          </p15:clr>
        </p15:guide>
        <p15:guide id="6" pos="7446">
          <p15:clr>
            <a:srgbClr val="F26B43"/>
          </p15:clr>
        </p15:guide>
        <p15:guide id="7" pos="2774">
          <p15:clr>
            <a:srgbClr val="F26B43"/>
          </p15:clr>
        </p15:guide>
        <p15:guide id="8" pos="2343">
          <p15:clr>
            <a:srgbClr val="F26B43"/>
          </p15:clr>
        </p15:guide>
        <p15:guide id="9" pos="4906">
          <p15:clr>
            <a:srgbClr val="F26B43"/>
          </p15:clr>
        </p15:guide>
        <p15:guide id="10" pos="5314">
          <p15:clr>
            <a:srgbClr val="F26B43"/>
          </p15:clr>
        </p15:guide>
        <p15:guide id="11" orient="horz" pos="323">
          <p15:clr>
            <a:srgbClr val="F26B43"/>
          </p15:clr>
        </p15:guide>
        <p15:guide id="12" orient="horz" pos="3875">
          <p15:clr>
            <a:srgbClr val="F26B43"/>
          </p15:clr>
        </p15:guide>
        <p15:guide id="13" orient="horz" pos="878">
          <p15:clr>
            <a:srgbClr val="F26B43"/>
          </p15:clr>
        </p15:guide>
        <p15:guide id="14" orient="horz" pos="166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9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13" Type="http://schemas.openxmlformats.org/officeDocument/2006/relationships/image" Target="../media/image5.emf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26.svg"/><Relationship Id="rId11" Type="http://schemas.openxmlformats.org/officeDocument/2006/relationships/image" Target="../media/image31.png"/><Relationship Id="rId5" Type="http://schemas.openxmlformats.org/officeDocument/2006/relationships/image" Target="../media/image25.png"/><Relationship Id="rId10" Type="http://schemas.openxmlformats.org/officeDocument/2006/relationships/image" Target="../media/image30.svg"/><Relationship Id="rId4" Type="http://schemas.openxmlformats.org/officeDocument/2006/relationships/image" Target="../media/image24.svg"/><Relationship Id="rId9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8D8ED7-83DB-4DA7-BA86-26F8B012E4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8499" y="2924496"/>
            <a:ext cx="6871881" cy="636702"/>
          </a:xfrm>
        </p:spPr>
        <p:txBody>
          <a:bodyPr/>
          <a:lstStyle/>
          <a:p>
            <a:r>
              <a:rPr lang="en-US" sz="2800"/>
              <a:t>We Believe In the Power of Work</a:t>
            </a:r>
            <a:endParaRPr lang="en-US" sz="2800" i="1"/>
          </a:p>
        </p:txBody>
      </p:sp>
      <p:pic>
        <p:nvPicPr>
          <p:cNvPr id="7" name="Picture Placeholder 6" descr="A closeup of door handles of glass building doors">
            <a:extLst>
              <a:ext uri="{FF2B5EF4-FFF2-40B4-BE49-F238E27FC236}">
                <a16:creationId xmlns:a16="http://schemas.microsoft.com/office/drawing/2014/main" id="{BF15CE65-50EB-6D36-F21E-7C73D7230AD4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l="22515" r="22515"/>
          <a:stretch>
            <a:fillRect/>
          </a:stretch>
        </p:blipFill>
        <p:spPr/>
      </p:pic>
      <p:pic>
        <p:nvPicPr>
          <p:cNvPr id="10" name="Picture 9" descr="A black circle with white text&#10;&#10;Description automatically generated">
            <a:extLst>
              <a:ext uri="{FF2B5EF4-FFF2-40B4-BE49-F238E27FC236}">
                <a16:creationId xmlns:a16="http://schemas.microsoft.com/office/drawing/2014/main" id="{57597144-89A5-92F7-06F2-F9E7638F2A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7273" y="3760578"/>
            <a:ext cx="1773908" cy="1784858"/>
          </a:xfrm>
          <a:prstGeom prst="rect">
            <a:avLst/>
          </a:prstGeom>
        </p:spPr>
      </p:pic>
      <p:pic>
        <p:nvPicPr>
          <p:cNvPr id="15" name="Picture 14" descr="A black and white logo&#10;&#10;Description automatically generated">
            <a:extLst>
              <a:ext uri="{FF2B5EF4-FFF2-40B4-BE49-F238E27FC236}">
                <a16:creationId xmlns:a16="http://schemas.microsoft.com/office/drawing/2014/main" id="{DF467719-44AE-C9C2-B431-BD0422A0E4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82980" y="3953962"/>
            <a:ext cx="3249987" cy="1329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3854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B479F53C-BE4F-4ED2-AA09-61B69376E4B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+mn-lt"/>
              </a:rPr>
              <a:t>Accommodation Does Not Equal Hardship  </a:t>
            </a:r>
          </a:p>
        </p:txBody>
      </p:sp>
      <p:sp>
        <p:nvSpPr>
          <p:cNvPr id="7" name="Subtitle 63">
            <a:extLst>
              <a:ext uri="{FF2B5EF4-FFF2-40B4-BE49-F238E27FC236}">
                <a16:creationId xmlns:a16="http://schemas.microsoft.com/office/drawing/2014/main" id="{23916295-FCC0-4A60-A23F-C836DFA50D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0250" y="863600"/>
            <a:ext cx="10736263" cy="247650"/>
          </a:xfrm>
        </p:spPr>
        <p:txBody>
          <a:bodyPr/>
          <a:lstStyle/>
          <a:p>
            <a:r>
              <a:rPr lang="en-US">
                <a:solidFill>
                  <a:schemeClr val="bg2">
                    <a:lumMod val="50000"/>
                  </a:schemeClr>
                </a:solidFill>
                <a:latin typeface="+mn-lt"/>
              </a:rPr>
              <a:t>CASE STUDY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F2CEAABF-EAA8-4B4C-BD43-061C217D9CAE}"/>
              </a:ext>
            </a:extLst>
          </p:cNvPr>
          <p:cNvSpPr txBox="1">
            <a:spLocks/>
          </p:cNvSpPr>
          <p:nvPr/>
        </p:nvSpPr>
        <p:spPr>
          <a:xfrm>
            <a:off x="348333" y="1070143"/>
            <a:ext cx="3641864" cy="338554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7013" indent="-2270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1963" indent="-2349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7388" indent="-2254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14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1414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b="1">
                <a:solidFill>
                  <a:schemeClr val="tx1"/>
                </a:solidFill>
                <a:latin typeface="+mj-lt"/>
                <a:ea typeface="Verdana" panose="020B0604030504040204" pitchFamily="34" charset="0"/>
              </a:rPr>
              <a:t>Engage</a:t>
            </a:r>
          </a:p>
          <a:p>
            <a:pPr marL="0" indent="0">
              <a:buNone/>
              <a:defRPr/>
            </a:pPr>
            <a:r>
              <a:rPr lang="en-US">
                <a:solidFill>
                  <a:srgbClr val="22222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Our client, Cirque du Soleil, opened the big top to collaborate with us and our partner, the Canadian Down Syndrome Society’s (CDSS) </a:t>
            </a:r>
            <a:r>
              <a:rPr lang="en-US" err="1">
                <a:solidFill>
                  <a:srgbClr val="22222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ployable</a:t>
            </a:r>
            <a:r>
              <a:rPr lang="en-US">
                <a:solidFill>
                  <a:srgbClr val="22222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program. </a:t>
            </a:r>
          </a:p>
          <a:p>
            <a:pPr marL="0" indent="0">
              <a:buNone/>
              <a:defRPr/>
            </a:pPr>
            <a:endParaRPr lang="en-US">
              <a:solidFill>
                <a:srgbClr val="222222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  <a:defRPr/>
            </a:pPr>
            <a:r>
              <a:rPr lang="en-US">
                <a:solidFill>
                  <a:srgbClr val="22222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ollectively, we worked to ‘think differently’ by providing training and coaching to attract, onboard,</a:t>
            </a:r>
            <a:r>
              <a:rPr lang="en-US" sz="1400">
                <a:solidFill>
                  <a:schemeClr val="tx1"/>
                </a:solidFill>
              </a:rPr>
              <a:t> and employ this workforce. </a:t>
            </a:r>
          </a:p>
          <a:p>
            <a:pPr marL="0" indent="0">
              <a:buNone/>
              <a:defRPr/>
            </a:pPr>
            <a:endParaRPr lang="en-US">
              <a:solidFill>
                <a:srgbClr val="222222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  <a:defRPr/>
            </a:pPr>
            <a:endParaRPr lang="en-US">
              <a:solidFill>
                <a:srgbClr val="222222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>
              <a:buNone/>
              <a:defRPr/>
            </a:pPr>
            <a:r>
              <a:rPr lang="en-US">
                <a:solidFill>
                  <a:srgbClr val="222222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AB3F997-723F-463D-A7E2-53B8876060F2}"/>
              </a:ext>
            </a:extLst>
          </p:cNvPr>
          <p:cNvSpPr txBox="1">
            <a:spLocks/>
          </p:cNvSpPr>
          <p:nvPr/>
        </p:nvSpPr>
        <p:spPr>
          <a:xfrm>
            <a:off x="8201805" y="1070143"/>
            <a:ext cx="3641863" cy="29392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227013" indent="-2270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1963" indent="-2349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87388" indent="-2254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41413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14141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b="1">
                <a:solidFill>
                  <a:schemeClr val="tx1"/>
                </a:solidFill>
                <a:latin typeface="+mj-lt"/>
                <a:ea typeface="Verdana" panose="020B0604030504040204" pitchFamily="34" charset="0"/>
              </a:rPr>
              <a:t>Employ and Empower</a:t>
            </a:r>
          </a:p>
          <a:p>
            <a:pPr marL="0" indent="0">
              <a:buNone/>
            </a:pPr>
            <a:r>
              <a:rPr lang="en-US">
                <a:solidFill>
                  <a:schemeClr val="tx1"/>
                </a:solidFill>
              </a:rPr>
              <a:t>W</a:t>
            </a:r>
            <a:r>
              <a:rPr lang="en-US" sz="1400">
                <a:solidFill>
                  <a:schemeClr val="tx1"/>
                </a:solidFill>
              </a:rPr>
              <a:t>e had 3 associates with Down syndrome attend the orientation for the Toronto show. They joined the team as ushers / ticket scanners.</a:t>
            </a:r>
          </a:p>
          <a:p>
            <a:pPr marL="0" indent="0">
              <a:buNone/>
            </a:pPr>
            <a:endParaRPr lang="en-US" sz="140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1400">
                <a:solidFill>
                  <a:schemeClr val="tx1"/>
                </a:solidFill>
              </a:rPr>
              <a:t>This incredible group scanned tickets, welcomed guests, and moved through the job duties assigned with the support of job coaches . All completed their assignments successfully, gaining valuable skills in the process. </a:t>
            </a:r>
            <a:endParaRPr lang="en-US">
              <a:solidFill>
                <a:srgbClr val="222222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BED97D6-FDC4-4838-B3D3-789AFEDA9629}"/>
              </a:ext>
            </a:extLst>
          </p:cNvPr>
          <p:cNvSpPr/>
          <p:nvPr/>
        </p:nvSpPr>
        <p:spPr>
          <a:xfrm>
            <a:off x="704579" y="4088208"/>
            <a:ext cx="2598057" cy="2478284"/>
          </a:xfrm>
          <a:prstGeom prst="ellipse">
            <a:avLst/>
          </a:prstGeom>
          <a:solidFill>
            <a:srgbClr val="BF0D3E"/>
          </a:solidFill>
          <a:ln>
            <a:solidFill>
              <a:srgbClr val="BF0D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EE6B073-05C5-4D14-BF76-A6580D7000A0}"/>
              </a:ext>
            </a:extLst>
          </p:cNvPr>
          <p:cNvSpPr txBox="1"/>
          <p:nvPr/>
        </p:nvSpPr>
        <p:spPr>
          <a:xfrm>
            <a:off x="905044" y="4328216"/>
            <a:ext cx="215945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From a professional perspective, this partnership shows us that there are many individuals outside our traditional candidate market who are ready and able to work. From a personal perspective, this was one of the most rewarding experiences in my career.</a:t>
            </a:r>
            <a:endParaRPr lang="en-US" sz="1300">
              <a:solidFill>
                <a:schemeClr val="bg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B44CF5B-C156-47D3-8B28-A580CBEC59C7}"/>
              </a:ext>
            </a:extLst>
          </p:cNvPr>
          <p:cNvSpPr/>
          <p:nvPr/>
        </p:nvSpPr>
        <p:spPr>
          <a:xfrm>
            <a:off x="8672286" y="4079858"/>
            <a:ext cx="2598057" cy="2478284"/>
          </a:xfrm>
          <a:prstGeom prst="ellipse">
            <a:avLst/>
          </a:prstGeom>
          <a:solidFill>
            <a:srgbClr val="BF0D3E"/>
          </a:solidFill>
          <a:ln>
            <a:solidFill>
              <a:srgbClr val="BF0D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A45B428-68EB-4ACA-829A-0EB856279856}"/>
              </a:ext>
            </a:extLst>
          </p:cNvPr>
          <p:cNvSpPr txBox="1"/>
          <p:nvPr/>
        </p:nvSpPr>
        <p:spPr>
          <a:xfrm>
            <a:off x="8901795" y="4451327"/>
            <a:ext cx="2139038" cy="1815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I saw Amanda greeting guests and directing them to the correct doors verbally and motioning with her hands! This is an incredible and huge step for Amanda. I am over the moon proud of her and my assisting team for their efforts.</a:t>
            </a:r>
            <a:endParaRPr lang="en-US" sz="1300">
              <a:solidFill>
                <a:schemeClr val="bg1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E92A0F1-0EE7-4688-8B3F-62A4DC362B72}"/>
              </a:ext>
            </a:extLst>
          </p:cNvPr>
          <p:cNvGrpSpPr/>
          <p:nvPr/>
        </p:nvGrpSpPr>
        <p:grpSpPr>
          <a:xfrm>
            <a:off x="158934" y="3780526"/>
            <a:ext cx="3829376" cy="2982316"/>
            <a:chOff x="158934" y="3780526"/>
            <a:chExt cx="3829376" cy="2982316"/>
          </a:xfrm>
        </p:grpSpPr>
        <p:pic>
          <p:nvPicPr>
            <p:cNvPr id="25" name="Graphic 24" descr="Open quotation mark">
              <a:extLst>
                <a:ext uri="{FF2B5EF4-FFF2-40B4-BE49-F238E27FC236}">
                  <a16:creationId xmlns:a16="http://schemas.microsoft.com/office/drawing/2014/main" id="{0D88620F-7E8C-422A-ADE6-1B96C5A656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58934" y="3780526"/>
              <a:ext cx="914400" cy="914400"/>
            </a:xfrm>
            <a:prstGeom prst="rect">
              <a:avLst/>
            </a:prstGeom>
          </p:spPr>
        </p:pic>
        <p:pic>
          <p:nvPicPr>
            <p:cNvPr id="27" name="Graphic 26" descr="Closed quotation mark">
              <a:extLst>
                <a:ext uri="{FF2B5EF4-FFF2-40B4-BE49-F238E27FC236}">
                  <a16:creationId xmlns:a16="http://schemas.microsoft.com/office/drawing/2014/main" id="{54AC0B64-7672-409D-8795-B106357CCD9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073910" y="5848442"/>
              <a:ext cx="914400" cy="914400"/>
            </a:xfrm>
            <a:prstGeom prst="rect">
              <a:avLst/>
            </a:prstGeom>
          </p:spPr>
        </p:pic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87FC37D-AAAB-46F9-805F-A16923F36D94}"/>
              </a:ext>
            </a:extLst>
          </p:cNvPr>
          <p:cNvGrpSpPr/>
          <p:nvPr/>
        </p:nvGrpSpPr>
        <p:grpSpPr>
          <a:xfrm>
            <a:off x="8108048" y="3780526"/>
            <a:ext cx="3829376" cy="2982316"/>
            <a:chOff x="158934" y="3780526"/>
            <a:chExt cx="3829376" cy="2982316"/>
          </a:xfrm>
        </p:grpSpPr>
        <p:pic>
          <p:nvPicPr>
            <p:cNvPr id="31" name="Graphic 30" descr="Open quotation mark">
              <a:extLst>
                <a:ext uri="{FF2B5EF4-FFF2-40B4-BE49-F238E27FC236}">
                  <a16:creationId xmlns:a16="http://schemas.microsoft.com/office/drawing/2014/main" id="{0A41203C-C5E6-44AD-887B-076B30F324D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58934" y="3780526"/>
              <a:ext cx="914400" cy="914400"/>
            </a:xfrm>
            <a:prstGeom prst="rect">
              <a:avLst/>
            </a:prstGeom>
          </p:spPr>
        </p:pic>
        <p:pic>
          <p:nvPicPr>
            <p:cNvPr id="32" name="Graphic 31" descr="Closed quotation mark">
              <a:extLst>
                <a:ext uri="{FF2B5EF4-FFF2-40B4-BE49-F238E27FC236}">
                  <a16:creationId xmlns:a16="http://schemas.microsoft.com/office/drawing/2014/main" id="{456B94D5-2399-440D-BECD-4869C1E51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073910" y="5848442"/>
              <a:ext cx="914400" cy="914400"/>
            </a:xfrm>
            <a:prstGeom prst="rect">
              <a:avLst/>
            </a:prstGeom>
          </p:spPr>
        </p:pic>
      </p:grpSp>
      <p:sp>
        <p:nvSpPr>
          <p:cNvPr id="33" name="Rectangle: Top Corners Rounded 32">
            <a:extLst>
              <a:ext uri="{FF2B5EF4-FFF2-40B4-BE49-F238E27FC236}">
                <a16:creationId xmlns:a16="http://schemas.microsoft.com/office/drawing/2014/main" id="{80FDBC0F-24FB-4244-A53A-71DC535D5880}"/>
              </a:ext>
            </a:extLst>
          </p:cNvPr>
          <p:cNvSpPr/>
          <p:nvPr/>
        </p:nvSpPr>
        <p:spPr>
          <a:xfrm>
            <a:off x="4279374" y="3842941"/>
            <a:ext cx="3641862" cy="2213113"/>
          </a:xfrm>
          <a:prstGeom prst="round2SameRect">
            <a:avLst>
              <a:gd name="adj1" fmla="val 0"/>
              <a:gd name="adj2" fmla="val 17283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D44A2662-316D-4F35-A1DD-99DB922ED36D}"/>
              </a:ext>
            </a:extLst>
          </p:cNvPr>
          <p:cNvSpPr/>
          <p:nvPr/>
        </p:nvSpPr>
        <p:spPr>
          <a:xfrm>
            <a:off x="4279374" y="1635686"/>
            <a:ext cx="3641862" cy="2213113"/>
          </a:xfrm>
          <a:prstGeom prst="round2SameRect">
            <a:avLst/>
          </a:prstGeom>
          <a:solidFill>
            <a:srgbClr val="BF0D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FBB8D24-22DD-47DB-94C3-00C53838B09E}"/>
              </a:ext>
            </a:extLst>
          </p:cNvPr>
          <p:cNvSpPr txBox="1"/>
          <p:nvPr/>
        </p:nvSpPr>
        <p:spPr>
          <a:xfrm>
            <a:off x="4936289" y="1868980"/>
            <a:ext cx="2427209" cy="193899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bg1"/>
                </a:solidFill>
              </a:rPr>
              <a:t>Thank you for taking a chance on having Amanda work at Cirque this summer. It means so much to Amanda to be working there and she tells everybody about it. </a:t>
            </a:r>
          </a:p>
          <a:p>
            <a:pPr algn="r"/>
            <a:r>
              <a:rPr lang="en-US" sz="1100">
                <a:solidFill>
                  <a:schemeClr val="bg1"/>
                </a:solidFill>
              </a:rPr>
              <a:t>Gayle Carter</a:t>
            </a:r>
          </a:p>
          <a:p>
            <a:pPr algn="r"/>
            <a:r>
              <a:rPr lang="en-US" sz="1100">
                <a:solidFill>
                  <a:schemeClr val="bg1"/>
                </a:solidFill>
              </a:rPr>
              <a:t>Amanda’s Mom</a:t>
            </a: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16A539-5DCB-4678-A2BE-D5D968760671}"/>
              </a:ext>
            </a:extLst>
          </p:cNvPr>
          <p:cNvSpPr txBox="1"/>
          <p:nvPr/>
        </p:nvSpPr>
        <p:spPr>
          <a:xfrm>
            <a:off x="4441371" y="4047415"/>
            <a:ext cx="3307107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1600">
                <a:solidFill>
                  <a:schemeClr val="bg1"/>
                </a:solidFill>
                <a:latin typeface="+mj-lt"/>
              </a:rPr>
              <a:t>Provided meaningful employment to Canadians from an underrepresented population</a:t>
            </a:r>
          </a:p>
        </p:txBody>
      </p:sp>
      <p:pic>
        <p:nvPicPr>
          <p:cNvPr id="34" name="Graphic 33" descr="Open quotation mark">
            <a:extLst>
              <a:ext uri="{FF2B5EF4-FFF2-40B4-BE49-F238E27FC236}">
                <a16:creationId xmlns:a16="http://schemas.microsoft.com/office/drawing/2014/main" id="{6CA04B02-889A-44F1-A0D1-B9EC1CD588E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26301" y="1476375"/>
            <a:ext cx="914400" cy="914400"/>
          </a:xfrm>
          <a:prstGeom prst="rect">
            <a:avLst/>
          </a:prstGeom>
        </p:spPr>
      </p:pic>
      <p:pic>
        <p:nvPicPr>
          <p:cNvPr id="35" name="Graphic 34" descr="Closed quotation mark">
            <a:extLst>
              <a:ext uri="{FF2B5EF4-FFF2-40B4-BE49-F238E27FC236}">
                <a16:creationId xmlns:a16="http://schemas.microsoft.com/office/drawing/2014/main" id="{6BF56177-21B3-4817-9952-F791921250C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00594" y="3035511"/>
            <a:ext cx="914400" cy="914400"/>
          </a:xfrm>
          <a:prstGeom prst="rect">
            <a:avLst/>
          </a:prstGeom>
        </p:spPr>
      </p:pic>
      <p:pic>
        <p:nvPicPr>
          <p:cNvPr id="19" name="Picture 18" descr="A person smiling at camera&#10;&#10;Description automatically generated">
            <a:extLst>
              <a:ext uri="{FF2B5EF4-FFF2-40B4-BE49-F238E27FC236}">
                <a16:creationId xmlns:a16="http://schemas.microsoft.com/office/drawing/2014/main" id="{DC54ABF9-EB43-BB57-238B-88CC588F19E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747974" y="4948594"/>
            <a:ext cx="1444755" cy="1444755"/>
          </a:xfrm>
          <a:prstGeom prst="rect">
            <a:avLst/>
          </a:prstGeom>
        </p:spPr>
      </p:pic>
      <p:pic>
        <p:nvPicPr>
          <p:cNvPr id="36" name="Picture 35" descr="A logo of a sun with a face&#10;&#10;Description automatically generated">
            <a:extLst>
              <a:ext uri="{FF2B5EF4-FFF2-40B4-BE49-F238E27FC236}">
                <a16:creationId xmlns:a16="http://schemas.microsoft.com/office/drawing/2014/main" id="{32909335-57BA-67B9-0071-059E4F0DC0B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14498" y="5204177"/>
            <a:ext cx="2568454" cy="1444755"/>
          </a:xfrm>
          <a:prstGeom prst="rect">
            <a:avLst/>
          </a:prstGeom>
        </p:spPr>
      </p:pic>
      <p:pic>
        <p:nvPicPr>
          <p:cNvPr id="3" name="Picture 7">
            <a:extLst>
              <a:ext uri="{FF2B5EF4-FFF2-40B4-BE49-F238E27FC236}">
                <a16:creationId xmlns:a16="http://schemas.microsoft.com/office/drawing/2014/main" id="{12F6C209-71C7-791F-8752-43D9BE4BB92D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428" y="6420269"/>
            <a:ext cx="690955" cy="169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0817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6D206CB-16DF-CC21-4671-096A9033C4CB}"/>
              </a:ext>
            </a:extLst>
          </p:cNvPr>
          <p:cNvSpPr txBox="1">
            <a:spLocks/>
          </p:cNvSpPr>
          <p:nvPr/>
        </p:nvSpPr>
        <p:spPr>
          <a:xfrm>
            <a:off x="992371" y="2325128"/>
            <a:ext cx="2628000" cy="9997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2800" indent="-2628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400" indent="-273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Neutraface Text Book" panose="02000600030000020004" pitchFamily="50" charset="0"/>
              <a:buChar char="—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800" indent="-176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Neutraface Text Book" panose="02000600030000020004" pitchFamily="50" charset="0"/>
              <a:buChar char="—"/>
              <a:defRPr lang="en-US" sz="1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2800" indent="-1764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Neutraface Text Book" panose="02000600030000020004" pitchFamily="50" charset="0"/>
              <a:buChar char="—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>
              <a:spcBef>
                <a:spcPts val="0"/>
              </a:spcBef>
              <a:spcAft>
                <a:spcPts val="800"/>
              </a:spcAft>
            </a:pPr>
            <a:r>
              <a:rPr lang="en-US">
                <a:latin typeface="Houschka Head Medium" panose="020F0603020000020003" pitchFamily="34" charset="0"/>
              </a:rPr>
              <a:t>Explain the task, do the task, have the employee do the task, and have the employee repeat the task  </a:t>
            </a:r>
          </a:p>
          <a:p>
            <a:endParaRPr lang="en-US">
              <a:latin typeface="Houschka Head Medium" panose="020F0603020000020003" pitchFamily="34" charset="0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B6547E7-6D1F-426D-6196-C67B9778595D}"/>
              </a:ext>
            </a:extLst>
          </p:cNvPr>
          <p:cNvSpPr txBox="1">
            <a:spLocks/>
          </p:cNvSpPr>
          <p:nvPr/>
        </p:nvSpPr>
        <p:spPr>
          <a:xfrm>
            <a:off x="992371" y="4258640"/>
            <a:ext cx="2628000" cy="66417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2800" indent="-2628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400" indent="-273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Neutraface Text Book" panose="02000600030000020004" pitchFamily="50" charset="0"/>
              <a:buChar char="—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800" indent="-176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Neutraface Text Book" panose="02000600030000020004" pitchFamily="50" charset="0"/>
              <a:buChar char="—"/>
              <a:defRPr lang="en-US" sz="1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2800" indent="-1764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Neutraface Text Book" panose="02000600030000020004" pitchFamily="50" charset="0"/>
              <a:buChar char="—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>
              <a:spcBef>
                <a:spcPts val="0"/>
              </a:spcBef>
              <a:spcAft>
                <a:spcPts val="800"/>
              </a:spcAft>
            </a:pPr>
            <a:r>
              <a:rPr lang="en-US">
                <a:latin typeface="Houschka Head Medium" panose="020F0603020000020003" pitchFamily="34" charset="0"/>
              </a:rPr>
              <a:t>Give information in shorter phrases and provide training visuals. </a:t>
            </a:r>
          </a:p>
          <a:p>
            <a:endParaRPr lang="en-US">
              <a:latin typeface="Houschka Head Medium" panose="020F0603020000020003" pitchFamily="34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5EBA028-ECFD-CF1C-D96F-A6A75046558D}"/>
              </a:ext>
            </a:extLst>
          </p:cNvPr>
          <p:cNvSpPr txBox="1">
            <a:spLocks/>
          </p:cNvSpPr>
          <p:nvPr/>
        </p:nvSpPr>
        <p:spPr>
          <a:xfrm>
            <a:off x="8601525" y="2325128"/>
            <a:ext cx="2628000" cy="84486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2800" indent="-2628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400" indent="-273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Neutraface Text Book" panose="02000600030000020004" pitchFamily="50" charset="0"/>
              <a:buChar char="—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800" indent="-176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Neutraface Text Book" panose="02000600030000020004" pitchFamily="50" charset="0"/>
              <a:buChar char="—"/>
              <a:defRPr lang="en-US" sz="1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2800" indent="-1764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Neutraface Text Book" panose="02000600030000020004" pitchFamily="50" charset="0"/>
              <a:buChar char="—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>
              <a:spcBef>
                <a:spcPts val="0"/>
              </a:spcBef>
              <a:spcAft>
                <a:spcPts val="800"/>
              </a:spcAft>
            </a:pPr>
            <a:r>
              <a:rPr lang="en-US">
                <a:latin typeface="Houschka Head Medium" panose="020F0603020000020003" pitchFamily="34" charset="0"/>
              </a:rPr>
              <a:t>If possible, start with shorter shifts and build up to longer shifts.</a:t>
            </a:r>
          </a:p>
          <a:p>
            <a:endParaRPr lang="en-US">
              <a:latin typeface="Houschka Head Medium" panose="020F0603020000020003" pitchFamily="34" charset="0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46835DF-71B9-E2DE-42FC-ECF24A3C8122}"/>
              </a:ext>
            </a:extLst>
          </p:cNvPr>
          <p:cNvSpPr txBox="1">
            <a:spLocks/>
          </p:cNvSpPr>
          <p:nvPr/>
        </p:nvSpPr>
        <p:spPr>
          <a:xfrm>
            <a:off x="8601525" y="4258640"/>
            <a:ext cx="2628000" cy="79248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FontTx/>
              <a:buNone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2800" indent="-2628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400" indent="-273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Neutraface Text Book" panose="02000600030000020004" pitchFamily="50" charset="0"/>
              <a:buChar char="—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2800" indent="-1764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Neutraface Text Book" panose="02000600030000020004" pitchFamily="50" charset="0"/>
              <a:buChar char="—"/>
              <a:defRPr lang="en-US" sz="1400" b="0" i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2800" indent="-1764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Neutraface Text Book" panose="02000600030000020004" pitchFamily="50" charset="0"/>
              <a:buChar char="—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"/>
            <a:r>
              <a:rPr lang="en-US">
                <a:latin typeface="Houschka Head Medium" panose="020F0603020000020003" pitchFamily="34" charset="0"/>
              </a:rPr>
              <a:t>Remember that every individual is different and will have unique needs.</a:t>
            </a:r>
          </a:p>
          <a:p>
            <a:endParaRPr lang="en-US">
              <a:latin typeface="Houschka Head Medium" panose="020F0603020000020003" pitchFamily="34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1353FA9-4609-786F-DFA2-B766E94069C7}"/>
              </a:ext>
            </a:extLst>
          </p:cNvPr>
          <p:cNvSpPr/>
          <p:nvPr/>
        </p:nvSpPr>
        <p:spPr>
          <a:xfrm>
            <a:off x="2032051" y="1674207"/>
            <a:ext cx="548640" cy="548640"/>
          </a:xfrm>
          <a:custGeom>
            <a:avLst/>
            <a:gdLst>
              <a:gd name="connsiteX0" fmla="*/ 102397 w 120466"/>
              <a:gd name="connsiteY0" fmla="*/ 18930 h 122187"/>
              <a:gd name="connsiteX1" fmla="*/ 120467 w 120466"/>
              <a:gd name="connsiteY1" fmla="*/ 860 h 122187"/>
              <a:gd name="connsiteX2" fmla="*/ 120467 w 120466"/>
              <a:gd name="connsiteY2" fmla="*/ 54210 h 122187"/>
              <a:gd name="connsiteX3" fmla="*/ 67118 w 120466"/>
              <a:gd name="connsiteY3" fmla="*/ 54210 h 122187"/>
              <a:gd name="connsiteX4" fmla="*/ 92072 w 120466"/>
              <a:gd name="connsiteY4" fmla="*/ 30117 h 122187"/>
              <a:gd name="connsiteX5" fmla="*/ 60233 w 120466"/>
              <a:gd name="connsiteY5" fmla="*/ 16349 h 122187"/>
              <a:gd name="connsiteX6" fmla="*/ 27536 w 120466"/>
              <a:gd name="connsiteY6" fmla="*/ 30117 h 122187"/>
              <a:gd name="connsiteX7" fmla="*/ 14629 w 120466"/>
              <a:gd name="connsiteY7" fmla="*/ 61954 h 122187"/>
              <a:gd name="connsiteX8" fmla="*/ 27536 w 120466"/>
              <a:gd name="connsiteY8" fmla="*/ 94652 h 122187"/>
              <a:gd name="connsiteX9" fmla="*/ 60233 w 120466"/>
              <a:gd name="connsiteY9" fmla="*/ 107560 h 122187"/>
              <a:gd name="connsiteX10" fmla="*/ 86908 w 120466"/>
              <a:gd name="connsiteY10" fmla="*/ 98955 h 122187"/>
              <a:gd name="connsiteX11" fmla="*/ 101537 w 120466"/>
              <a:gd name="connsiteY11" fmla="*/ 81745 h 122187"/>
              <a:gd name="connsiteX12" fmla="*/ 109281 w 120466"/>
              <a:gd name="connsiteY12" fmla="*/ 76582 h 122187"/>
              <a:gd name="connsiteX13" fmla="*/ 116164 w 120466"/>
              <a:gd name="connsiteY13" fmla="*/ 86048 h 122187"/>
              <a:gd name="connsiteX14" fmla="*/ 98095 w 120466"/>
              <a:gd name="connsiteY14" fmla="*/ 109280 h 122187"/>
              <a:gd name="connsiteX15" fmla="*/ 61094 w 120466"/>
              <a:gd name="connsiteY15" fmla="*/ 122187 h 122187"/>
              <a:gd name="connsiteX16" fmla="*/ 18070 w 120466"/>
              <a:gd name="connsiteY16" fmla="*/ 104117 h 122187"/>
              <a:gd name="connsiteX17" fmla="*/ 0 w 120466"/>
              <a:gd name="connsiteY17" fmla="*/ 61094 h 122187"/>
              <a:gd name="connsiteX18" fmla="*/ 18070 w 120466"/>
              <a:gd name="connsiteY18" fmla="*/ 18070 h 122187"/>
              <a:gd name="connsiteX19" fmla="*/ 61094 w 120466"/>
              <a:gd name="connsiteY19" fmla="*/ 0 h 122187"/>
              <a:gd name="connsiteX20" fmla="*/ 102397 w 120466"/>
              <a:gd name="connsiteY20" fmla="*/ 18930 h 122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20466" h="122187">
                <a:moveTo>
                  <a:pt x="102397" y="18930"/>
                </a:moveTo>
                <a:lnTo>
                  <a:pt x="120467" y="860"/>
                </a:lnTo>
                <a:lnTo>
                  <a:pt x="120467" y="54210"/>
                </a:lnTo>
                <a:lnTo>
                  <a:pt x="67118" y="54210"/>
                </a:lnTo>
                <a:lnTo>
                  <a:pt x="92072" y="30117"/>
                </a:lnTo>
                <a:cubicBezTo>
                  <a:pt x="83467" y="21512"/>
                  <a:pt x="72280" y="16349"/>
                  <a:pt x="60233" y="16349"/>
                </a:cubicBezTo>
                <a:cubicBezTo>
                  <a:pt x="47326" y="16349"/>
                  <a:pt x="37001" y="20651"/>
                  <a:pt x="27536" y="30117"/>
                </a:cubicBezTo>
                <a:cubicBezTo>
                  <a:pt x="18931" y="38721"/>
                  <a:pt x="14629" y="49908"/>
                  <a:pt x="14629" y="61954"/>
                </a:cubicBezTo>
                <a:cubicBezTo>
                  <a:pt x="14629" y="74001"/>
                  <a:pt x="18931" y="85187"/>
                  <a:pt x="27536" y="94652"/>
                </a:cubicBezTo>
                <a:cubicBezTo>
                  <a:pt x="36141" y="103257"/>
                  <a:pt x="47326" y="107560"/>
                  <a:pt x="60233" y="107560"/>
                </a:cubicBezTo>
                <a:cubicBezTo>
                  <a:pt x="70560" y="107560"/>
                  <a:pt x="79164" y="104978"/>
                  <a:pt x="86908" y="98955"/>
                </a:cubicBezTo>
                <a:cubicBezTo>
                  <a:pt x="92932" y="94652"/>
                  <a:pt x="98095" y="88629"/>
                  <a:pt x="101537" y="81745"/>
                </a:cubicBezTo>
                <a:cubicBezTo>
                  <a:pt x="103257" y="78303"/>
                  <a:pt x="105839" y="76582"/>
                  <a:pt x="109281" y="76582"/>
                </a:cubicBezTo>
                <a:cubicBezTo>
                  <a:pt x="114444" y="76582"/>
                  <a:pt x="117886" y="81745"/>
                  <a:pt x="116164" y="86048"/>
                </a:cubicBezTo>
                <a:cubicBezTo>
                  <a:pt x="111862" y="95513"/>
                  <a:pt x="105839" y="103257"/>
                  <a:pt x="98095" y="109280"/>
                </a:cubicBezTo>
                <a:cubicBezTo>
                  <a:pt x="86908" y="117885"/>
                  <a:pt x="74862" y="122187"/>
                  <a:pt x="61094" y="122187"/>
                </a:cubicBezTo>
                <a:cubicBezTo>
                  <a:pt x="44745" y="122187"/>
                  <a:pt x="30117" y="116164"/>
                  <a:pt x="18070" y="104117"/>
                </a:cubicBezTo>
                <a:cubicBezTo>
                  <a:pt x="6024" y="92071"/>
                  <a:pt x="0" y="78303"/>
                  <a:pt x="0" y="61094"/>
                </a:cubicBezTo>
                <a:cubicBezTo>
                  <a:pt x="0" y="43884"/>
                  <a:pt x="6024" y="30117"/>
                  <a:pt x="18070" y="18070"/>
                </a:cubicBezTo>
                <a:cubicBezTo>
                  <a:pt x="30117" y="6023"/>
                  <a:pt x="43884" y="0"/>
                  <a:pt x="61094" y="0"/>
                </a:cubicBezTo>
                <a:cubicBezTo>
                  <a:pt x="76583" y="860"/>
                  <a:pt x="91210" y="6884"/>
                  <a:pt x="102397" y="18930"/>
                </a:cubicBezTo>
                <a:close/>
              </a:path>
            </a:pathLst>
          </a:custGeom>
          <a:solidFill>
            <a:schemeClr val="accent1"/>
          </a:solidFill>
          <a:ln w="8603" cap="flat">
            <a:noFill/>
            <a:prstDash val="solid"/>
            <a:miter/>
          </a:ln>
        </p:spPr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E0A8277-4AC6-B572-DC81-EA262DD36236}"/>
              </a:ext>
            </a:extLst>
          </p:cNvPr>
          <p:cNvSpPr/>
          <p:nvPr/>
        </p:nvSpPr>
        <p:spPr>
          <a:xfrm>
            <a:off x="2032051" y="3564792"/>
            <a:ext cx="548640" cy="548640"/>
          </a:xfrm>
          <a:custGeom>
            <a:avLst/>
            <a:gdLst>
              <a:gd name="connsiteX0" fmla="*/ 107560 w 114442"/>
              <a:gd name="connsiteY0" fmla="*/ 98094 h 160048"/>
              <a:gd name="connsiteX1" fmla="*/ 114443 w 114442"/>
              <a:gd name="connsiteY1" fmla="*/ 108420 h 160048"/>
              <a:gd name="connsiteX2" fmla="*/ 114443 w 114442"/>
              <a:gd name="connsiteY2" fmla="*/ 110141 h 160048"/>
              <a:gd name="connsiteX3" fmla="*/ 108420 w 114442"/>
              <a:gd name="connsiteY3" fmla="*/ 150583 h 160048"/>
              <a:gd name="connsiteX4" fmla="*/ 104978 w 114442"/>
              <a:gd name="connsiteY4" fmla="*/ 157467 h 160048"/>
              <a:gd name="connsiteX5" fmla="*/ 97233 w 114442"/>
              <a:gd name="connsiteY5" fmla="*/ 160048 h 160048"/>
              <a:gd name="connsiteX6" fmla="*/ 45605 w 114442"/>
              <a:gd name="connsiteY6" fmla="*/ 160048 h 160048"/>
              <a:gd name="connsiteX7" fmla="*/ 37860 w 114442"/>
              <a:gd name="connsiteY7" fmla="*/ 156607 h 160048"/>
              <a:gd name="connsiteX8" fmla="*/ 0 w 114442"/>
              <a:gd name="connsiteY8" fmla="*/ 118746 h 160048"/>
              <a:gd name="connsiteX9" fmla="*/ 6023 w 114442"/>
              <a:gd name="connsiteY9" fmla="*/ 112722 h 160048"/>
              <a:gd name="connsiteX10" fmla="*/ 12046 w 114442"/>
              <a:gd name="connsiteY10" fmla="*/ 110141 h 160048"/>
              <a:gd name="connsiteX11" fmla="*/ 12907 w 114442"/>
              <a:gd name="connsiteY11" fmla="*/ 110141 h 160048"/>
              <a:gd name="connsiteX12" fmla="*/ 13767 w 114442"/>
              <a:gd name="connsiteY12" fmla="*/ 110141 h 160048"/>
              <a:gd name="connsiteX13" fmla="*/ 39582 w 114442"/>
              <a:gd name="connsiteY13" fmla="*/ 115304 h 160048"/>
              <a:gd name="connsiteX14" fmla="*/ 39582 w 114442"/>
              <a:gd name="connsiteY14" fmla="*/ 33559 h 160048"/>
              <a:gd name="connsiteX15" fmla="*/ 43024 w 114442"/>
              <a:gd name="connsiteY15" fmla="*/ 25814 h 160048"/>
              <a:gd name="connsiteX16" fmla="*/ 51629 w 114442"/>
              <a:gd name="connsiteY16" fmla="*/ 22372 h 160048"/>
              <a:gd name="connsiteX17" fmla="*/ 59372 w 114442"/>
              <a:gd name="connsiteY17" fmla="*/ 25814 h 160048"/>
              <a:gd name="connsiteX18" fmla="*/ 62814 w 114442"/>
              <a:gd name="connsiteY18" fmla="*/ 33559 h 160048"/>
              <a:gd name="connsiteX19" fmla="*/ 62814 w 114442"/>
              <a:gd name="connsiteY19" fmla="*/ 79164 h 160048"/>
              <a:gd name="connsiteX20" fmla="*/ 68838 w 114442"/>
              <a:gd name="connsiteY20" fmla="*/ 79164 h 160048"/>
              <a:gd name="connsiteX21" fmla="*/ 73141 w 114442"/>
              <a:gd name="connsiteY21" fmla="*/ 80024 h 160048"/>
              <a:gd name="connsiteX22" fmla="*/ 107560 w 114442"/>
              <a:gd name="connsiteY22" fmla="*/ 98094 h 160048"/>
              <a:gd name="connsiteX23" fmla="*/ 32697 w 114442"/>
              <a:gd name="connsiteY23" fmla="*/ 62815 h 160048"/>
              <a:gd name="connsiteX24" fmla="*/ 17210 w 114442"/>
              <a:gd name="connsiteY24" fmla="*/ 34419 h 160048"/>
              <a:gd name="connsiteX25" fmla="*/ 27535 w 114442"/>
              <a:gd name="connsiteY25" fmla="*/ 10326 h 160048"/>
              <a:gd name="connsiteX26" fmla="*/ 51629 w 114442"/>
              <a:gd name="connsiteY26" fmla="*/ 0 h 160048"/>
              <a:gd name="connsiteX27" fmla="*/ 75721 w 114442"/>
              <a:gd name="connsiteY27" fmla="*/ 10326 h 160048"/>
              <a:gd name="connsiteX28" fmla="*/ 86048 w 114442"/>
              <a:gd name="connsiteY28" fmla="*/ 34419 h 160048"/>
              <a:gd name="connsiteX29" fmla="*/ 71419 w 114442"/>
              <a:gd name="connsiteY29" fmla="*/ 62815 h 160048"/>
              <a:gd name="connsiteX30" fmla="*/ 71419 w 114442"/>
              <a:gd name="connsiteY30" fmla="*/ 34419 h 160048"/>
              <a:gd name="connsiteX31" fmla="*/ 65396 w 114442"/>
              <a:gd name="connsiteY31" fmla="*/ 21512 h 160048"/>
              <a:gd name="connsiteX32" fmla="*/ 51629 w 114442"/>
              <a:gd name="connsiteY32" fmla="*/ 15488 h 160048"/>
              <a:gd name="connsiteX33" fmla="*/ 37860 w 114442"/>
              <a:gd name="connsiteY33" fmla="*/ 21512 h 160048"/>
              <a:gd name="connsiteX34" fmla="*/ 32697 w 114442"/>
              <a:gd name="connsiteY34" fmla="*/ 34419 h 160048"/>
              <a:gd name="connsiteX35" fmla="*/ 32697 w 114442"/>
              <a:gd name="connsiteY35" fmla="*/ 62815 h 160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14442" h="160048">
                <a:moveTo>
                  <a:pt x="107560" y="98094"/>
                </a:moveTo>
                <a:cubicBezTo>
                  <a:pt x="111862" y="99815"/>
                  <a:pt x="114443" y="103257"/>
                  <a:pt x="114443" y="108420"/>
                </a:cubicBezTo>
                <a:lnTo>
                  <a:pt x="114443" y="110141"/>
                </a:lnTo>
                <a:lnTo>
                  <a:pt x="108420" y="150583"/>
                </a:lnTo>
                <a:cubicBezTo>
                  <a:pt x="108420" y="153165"/>
                  <a:pt x="106698" y="155746"/>
                  <a:pt x="104978" y="157467"/>
                </a:cubicBezTo>
                <a:cubicBezTo>
                  <a:pt x="103257" y="159188"/>
                  <a:pt x="100675" y="160048"/>
                  <a:pt x="97233" y="160048"/>
                </a:cubicBezTo>
                <a:lnTo>
                  <a:pt x="45605" y="160048"/>
                </a:lnTo>
                <a:cubicBezTo>
                  <a:pt x="42163" y="160048"/>
                  <a:pt x="39582" y="159188"/>
                  <a:pt x="37860" y="156607"/>
                </a:cubicBezTo>
                <a:lnTo>
                  <a:pt x="0" y="118746"/>
                </a:lnTo>
                <a:lnTo>
                  <a:pt x="6023" y="112722"/>
                </a:lnTo>
                <a:cubicBezTo>
                  <a:pt x="7743" y="111001"/>
                  <a:pt x="9465" y="110141"/>
                  <a:pt x="12046" y="110141"/>
                </a:cubicBezTo>
                <a:cubicBezTo>
                  <a:pt x="12046" y="110141"/>
                  <a:pt x="12907" y="110141"/>
                  <a:pt x="12907" y="110141"/>
                </a:cubicBezTo>
                <a:cubicBezTo>
                  <a:pt x="13767" y="110141"/>
                  <a:pt x="13767" y="110141"/>
                  <a:pt x="13767" y="110141"/>
                </a:cubicBezTo>
                <a:lnTo>
                  <a:pt x="39582" y="115304"/>
                </a:lnTo>
                <a:lnTo>
                  <a:pt x="39582" y="33559"/>
                </a:lnTo>
                <a:cubicBezTo>
                  <a:pt x="39582" y="30117"/>
                  <a:pt x="40442" y="27535"/>
                  <a:pt x="43024" y="25814"/>
                </a:cubicBezTo>
                <a:cubicBezTo>
                  <a:pt x="45605" y="24093"/>
                  <a:pt x="48186" y="22372"/>
                  <a:pt x="51629" y="22372"/>
                </a:cubicBezTo>
                <a:cubicBezTo>
                  <a:pt x="55070" y="22372"/>
                  <a:pt x="57652" y="23233"/>
                  <a:pt x="59372" y="25814"/>
                </a:cubicBezTo>
                <a:cubicBezTo>
                  <a:pt x="61954" y="27535"/>
                  <a:pt x="62814" y="30977"/>
                  <a:pt x="62814" y="33559"/>
                </a:cubicBezTo>
                <a:lnTo>
                  <a:pt x="62814" y="79164"/>
                </a:lnTo>
                <a:lnTo>
                  <a:pt x="68838" y="79164"/>
                </a:lnTo>
                <a:cubicBezTo>
                  <a:pt x="69698" y="79164"/>
                  <a:pt x="70559" y="79164"/>
                  <a:pt x="73141" y="80024"/>
                </a:cubicBezTo>
                <a:lnTo>
                  <a:pt x="107560" y="98094"/>
                </a:lnTo>
                <a:close/>
                <a:moveTo>
                  <a:pt x="32697" y="62815"/>
                </a:moveTo>
                <a:cubicBezTo>
                  <a:pt x="22372" y="55931"/>
                  <a:pt x="17210" y="46466"/>
                  <a:pt x="17210" y="34419"/>
                </a:cubicBezTo>
                <a:cubicBezTo>
                  <a:pt x="17210" y="24954"/>
                  <a:pt x="20651" y="17210"/>
                  <a:pt x="27535" y="10326"/>
                </a:cubicBezTo>
                <a:cubicBezTo>
                  <a:pt x="34419" y="3442"/>
                  <a:pt x="42163" y="0"/>
                  <a:pt x="51629" y="0"/>
                </a:cubicBezTo>
                <a:cubicBezTo>
                  <a:pt x="61094" y="0"/>
                  <a:pt x="68838" y="3442"/>
                  <a:pt x="75721" y="10326"/>
                </a:cubicBezTo>
                <a:cubicBezTo>
                  <a:pt x="82606" y="17210"/>
                  <a:pt x="86048" y="24954"/>
                  <a:pt x="86048" y="34419"/>
                </a:cubicBezTo>
                <a:cubicBezTo>
                  <a:pt x="86048" y="47326"/>
                  <a:pt x="80884" y="56791"/>
                  <a:pt x="71419" y="62815"/>
                </a:cubicBezTo>
                <a:lnTo>
                  <a:pt x="71419" y="34419"/>
                </a:lnTo>
                <a:cubicBezTo>
                  <a:pt x="71419" y="29256"/>
                  <a:pt x="69698" y="24954"/>
                  <a:pt x="65396" y="21512"/>
                </a:cubicBezTo>
                <a:cubicBezTo>
                  <a:pt x="61954" y="18070"/>
                  <a:pt x="56791" y="15488"/>
                  <a:pt x="51629" y="15488"/>
                </a:cubicBezTo>
                <a:cubicBezTo>
                  <a:pt x="46465" y="15488"/>
                  <a:pt x="42163" y="17210"/>
                  <a:pt x="37860" y="21512"/>
                </a:cubicBezTo>
                <a:cubicBezTo>
                  <a:pt x="34419" y="24954"/>
                  <a:pt x="32697" y="29256"/>
                  <a:pt x="32697" y="34419"/>
                </a:cubicBezTo>
                <a:lnTo>
                  <a:pt x="32697" y="62815"/>
                </a:lnTo>
                <a:close/>
              </a:path>
            </a:pathLst>
          </a:custGeom>
          <a:solidFill>
            <a:schemeClr val="accent1"/>
          </a:solidFill>
          <a:ln w="8603" cap="flat">
            <a:noFill/>
            <a:prstDash val="solid"/>
            <a:miter/>
          </a:ln>
        </p:spPr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DD2754C-DE6A-0611-17F7-64F64663B7B1}"/>
              </a:ext>
            </a:extLst>
          </p:cNvPr>
          <p:cNvSpPr/>
          <p:nvPr/>
        </p:nvSpPr>
        <p:spPr>
          <a:xfrm>
            <a:off x="9641205" y="1674207"/>
            <a:ext cx="548640" cy="548640"/>
          </a:xfrm>
          <a:custGeom>
            <a:avLst/>
            <a:gdLst>
              <a:gd name="connsiteX0" fmla="*/ 104979 w 150583"/>
              <a:gd name="connsiteY0" fmla="*/ 0 h 91210"/>
              <a:gd name="connsiteX1" fmla="*/ 150583 w 150583"/>
              <a:gd name="connsiteY1" fmla="*/ 0 h 91210"/>
              <a:gd name="connsiteX2" fmla="*/ 150583 w 150583"/>
              <a:gd name="connsiteY2" fmla="*/ 45605 h 91210"/>
              <a:gd name="connsiteX3" fmla="*/ 133374 w 150583"/>
              <a:gd name="connsiteY3" fmla="*/ 28396 h 91210"/>
              <a:gd name="connsiteX4" fmla="*/ 86048 w 150583"/>
              <a:gd name="connsiteY4" fmla="*/ 75722 h 91210"/>
              <a:gd name="connsiteX5" fmla="*/ 55931 w 150583"/>
              <a:gd name="connsiteY5" fmla="*/ 45605 h 91210"/>
              <a:gd name="connsiteX6" fmla="*/ 10326 w 150583"/>
              <a:gd name="connsiteY6" fmla="*/ 91210 h 91210"/>
              <a:gd name="connsiteX7" fmla="*/ 0 w 150583"/>
              <a:gd name="connsiteY7" fmla="*/ 80885 h 91210"/>
              <a:gd name="connsiteX8" fmla="*/ 55931 w 150583"/>
              <a:gd name="connsiteY8" fmla="*/ 24954 h 91210"/>
              <a:gd name="connsiteX9" fmla="*/ 86048 w 150583"/>
              <a:gd name="connsiteY9" fmla="*/ 55070 h 91210"/>
              <a:gd name="connsiteX10" fmla="*/ 123049 w 150583"/>
              <a:gd name="connsiteY10" fmla="*/ 18070 h 91210"/>
              <a:gd name="connsiteX11" fmla="*/ 104979 w 150583"/>
              <a:gd name="connsiteY11" fmla="*/ 0 h 91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50583" h="91210">
                <a:moveTo>
                  <a:pt x="104979" y="0"/>
                </a:moveTo>
                <a:lnTo>
                  <a:pt x="150583" y="0"/>
                </a:lnTo>
                <a:lnTo>
                  <a:pt x="150583" y="45605"/>
                </a:lnTo>
                <a:lnTo>
                  <a:pt x="133374" y="28396"/>
                </a:lnTo>
                <a:lnTo>
                  <a:pt x="86048" y="75722"/>
                </a:lnTo>
                <a:lnTo>
                  <a:pt x="55931" y="45605"/>
                </a:lnTo>
                <a:lnTo>
                  <a:pt x="10326" y="91210"/>
                </a:lnTo>
                <a:lnTo>
                  <a:pt x="0" y="80885"/>
                </a:lnTo>
                <a:lnTo>
                  <a:pt x="55931" y="24954"/>
                </a:lnTo>
                <a:lnTo>
                  <a:pt x="86048" y="55070"/>
                </a:lnTo>
                <a:lnTo>
                  <a:pt x="123049" y="18070"/>
                </a:lnTo>
                <a:lnTo>
                  <a:pt x="104979" y="0"/>
                </a:lnTo>
                <a:close/>
              </a:path>
            </a:pathLst>
          </a:custGeom>
          <a:solidFill>
            <a:schemeClr val="accent1"/>
          </a:solidFill>
          <a:ln w="8603" cap="flat">
            <a:noFill/>
            <a:prstDash val="solid"/>
            <a:miter/>
          </a:ln>
        </p:spPr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D4BF6643-143B-CC29-C0EF-E0AE3800FBF9}"/>
              </a:ext>
            </a:extLst>
          </p:cNvPr>
          <p:cNvSpPr/>
          <p:nvPr/>
        </p:nvSpPr>
        <p:spPr>
          <a:xfrm>
            <a:off x="9641205" y="3564792"/>
            <a:ext cx="548640" cy="548640"/>
          </a:xfrm>
          <a:custGeom>
            <a:avLst/>
            <a:gdLst>
              <a:gd name="connsiteX0" fmla="*/ 49908 w 151444"/>
              <a:gd name="connsiteY0" fmla="*/ 91210 h 151443"/>
              <a:gd name="connsiteX1" fmla="*/ 76583 w 151444"/>
              <a:gd name="connsiteY1" fmla="*/ 105839 h 151443"/>
              <a:gd name="connsiteX2" fmla="*/ 103257 w 151444"/>
              <a:gd name="connsiteY2" fmla="*/ 91210 h 151443"/>
              <a:gd name="connsiteX3" fmla="*/ 115304 w 151444"/>
              <a:gd name="connsiteY3" fmla="*/ 91210 h 151443"/>
              <a:gd name="connsiteX4" fmla="*/ 99816 w 151444"/>
              <a:gd name="connsiteY4" fmla="*/ 110141 h 151443"/>
              <a:gd name="connsiteX5" fmla="*/ 76583 w 151444"/>
              <a:gd name="connsiteY5" fmla="*/ 117025 h 151443"/>
              <a:gd name="connsiteX6" fmla="*/ 52489 w 151444"/>
              <a:gd name="connsiteY6" fmla="*/ 110141 h 151443"/>
              <a:gd name="connsiteX7" fmla="*/ 37861 w 151444"/>
              <a:gd name="connsiteY7" fmla="*/ 91210 h 151443"/>
              <a:gd name="connsiteX8" fmla="*/ 49908 w 151444"/>
              <a:gd name="connsiteY8" fmla="*/ 91210 h 151443"/>
              <a:gd name="connsiteX9" fmla="*/ 32698 w 151444"/>
              <a:gd name="connsiteY9" fmla="*/ 118746 h 151443"/>
              <a:gd name="connsiteX10" fmla="*/ 75722 w 151444"/>
              <a:gd name="connsiteY10" fmla="*/ 136816 h 151443"/>
              <a:gd name="connsiteX11" fmla="*/ 118746 w 151444"/>
              <a:gd name="connsiteY11" fmla="*/ 118746 h 151443"/>
              <a:gd name="connsiteX12" fmla="*/ 136816 w 151444"/>
              <a:gd name="connsiteY12" fmla="*/ 75722 h 151443"/>
              <a:gd name="connsiteX13" fmla="*/ 118746 w 151444"/>
              <a:gd name="connsiteY13" fmla="*/ 32698 h 151443"/>
              <a:gd name="connsiteX14" fmla="*/ 75722 w 151444"/>
              <a:gd name="connsiteY14" fmla="*/ 14628 h 151443"/>
              <a:gd name="connsiteX15" fmla="*/ 32698 w 151444"/>
              <a:gd name="connsiteY15" fmla="*/ 32698 h 151443"/>
              <a:gd name="connsiteX16" fmla="*/ 14628 w 151444"/>
              <a:gd name="connsiteY16" fmla="*/ 75722 h 151443"/>
              <a:gd name="connsiteX17" fmla="*/ 32698 w 151444"/>
              <a:gd name="connsiteY17" fmla="*/ 118746 h 151443"/>
              <a:gd name="connsiteX18" fmla="*/ 22373 w 151444"/>
              <a:gd name="connsiteY18" fmla="*/ 22372 h 151443"/>
              <a:gd name="connsiteX19" fmla="*/ 75722 w 151444"/>
              <a:gd name="connsiteY19" fmla="*/ 0 h 151443"/>
              <a:gd name="connsiteX20" fmla="*/ 129072 w 151444"/>
              <a:gd name="connsiteY20" fmla="*/ 22372 h 151443"/>
              <a:gd name="connsiteX21" fmla="*/ 151444 w 151444"/>
              <a:gd name="connsiteY21" fmla="*/ 75722 h 151443"/>
              <a:gd name="connsiteX22" fmla="*/ 129072 w 151444"/>
              <a:gd name="connsiteY22" fmla="*/ 129072 h 151443"/>
              <a:gd name="connsiteX23" fmla="*/ 75722 w 151444"/>
              <a:gd name="connsiteY23" fmla="*/ 151444 h 151443"/>
              <a:gd name="connsiteX24" fmla="*/ 22373 w 151444"/>
              <a:gd name="connsiteY24" fmla="*/ 129072 h 151443"/>
              <a:gd name="connsiteX25" fmla="*/ 0 w 151444"/>
              <a:gd name="connsiteY25" fmla="*/ 75722 h 151443"/>
              <a:gd name="connsiteX26" fmla="*/ 22373 w 151444"/>
              <a:gd name="connsiteY26" fmla="*/ 22372 h 151443"/>
              <a:gd name="connsiteX27" fmla="*/ 41303 w 151444"/>
              <a:gd name="connsiteY27" fmla="*/ 65396 h 151443"/>
              <a:gd name="connsiteX28" fmla="*/ 37861 w 151444"/>
              <a:gd name="connsiteY28" fmla="*/ 56791 h 151443"/>
              <a:gd name="connsiteX29" fmla="*/ 41303 w 151444"/>
              <a:gd name="connsiteY29" fmla="*/ 49047 h 151443"/>
              <a:gd name="connsiteX30" fmla="*/ 49908 w 151444"/>
              <a:gd name="connsiteY30" fmla="*/ 45605 h 151443"/>
              <a:gd name="connsiteX31" fmla="*/ 57652 w 151444"/>
              <a:gd name="connsiteY31" fmla="*/ 49047 h 151443"/>
              <a:gd name="connsiteX32" fmla="*/ 61094 w 151444"/>
              <a:gd name="connsiteY32" fmla="*/ 56791 h 151443"/>
              <a:gd name="connsiteX33" fmla="*/ 57652 w 151444"/>
              <a:gd name="connsiteY33" fmla="*/ 65396 h 151443"/>
              <a:gd name="connsiteX34" fmla="*/ 49908 w 151444"/>
              <a:gd name="connsiteY34" fmla="*/ 68838 h 151443"/>
              <a:gd name="connsiteX35" fmla="*/ 41303 w 151444"/>
              <a:gd name="connsiteY35" fmla="*/ 65396 h 151443"/>
              <a:gd name="connsiteX36" fmla="*/ 94652 w 151444"/>
              <a:gd name="connsiteY36" fmla="*/ 65396 h 151443"/>
              <a:gd name="connsiteX37" fmla="*/ 91211 w 151444"/>
              <a:gd name="connsiteY37" fmla="*/ 56791 h 151443"/>
              <a:gd name="connsiteX38" fmla="*/ 94652 w 151444"/>
              <a:gd name="connsiteY38" fmla="*/ 49047 h 151443"/>
              <a:gd name="connsiteX39" fmla="*/ 103257 w 151444"/>
              <a:gd name="connsiteY39" fmla="*/ 45605 h 151443"/>
              <a:gd name="connsiteX40" fmla="*/ 111002 w 151444"/>
              <a:gd name="connsiteY40" fmla="*/ 49047 h 151443"/>
              <a:gd name="connsiteX41" fmla="*/ 114443 w 151444"/>
              <a:gd name="connsiteY41" fmla="*/ 56791 h 151443"/>
              <a:gd name="connsiteX42" fmla="*/ 111002 w 151444"/>
              <a:gd name="connsiteY42" fmla="*/ 65396 h 151443"/>
              <a:gd name="connsiteX43" fmla="*/ 103257 w 151444"/>
              <a:gd name="connsiteY43" fmla="*/ 68838 h 151443"/>
              <a:gd name="connsiteX44" fmla="*/ 94652 w 151444"/>
              <a:gd name="connsiteY44" fmla="*/ 65396 h 151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151444" h="151443">
                <a:moveTo>
                  <a:pt x="49908" y="91210"/>
                </a:moveTo>
                <a:cubicBezTo>
                  <a:pt x="55931" y="101536"/>
                  <a:pt x="64536" y="105839"/>
                  <a:pt x="76583" y="105839"/>
                </a:cubicBezTo>
                <a:cubicBezTo>
                  <a:pt x="88629" y="105839"/>
                  <a:pt x="97234" y="100676"/>
                  <a:pt x="103257" y="91210"/>
                </a:cubicBezTo>
                <a:lnTo>
                  <a:pt x="115304" y="91210"/>
                </a:lnTo>
                <a:cubicBezTo>
                  <a:pt x="111862" y="98955"/>
                  <a:pt x="106699" y="105839"/>
                  <a:pt x="99816" y="110141"/>
                </a:cubicBezTo>
                <a:cubicBezTo>
                  <a:pt x="92931" y="115304"/>
                  <a:pt x="85187" y="117025"/>
                  <a:pt x="76583" y="117025"/>
                </a:cubicBezTo>
                <a:cubicBezTo>
                  <a:pt x="67978" y="117025"/>
                  <a:pt x="60233" y="114443"/>
                  <a:pt x="52489" y="110141"/>
                </a:cubicBezTo>
                <a:cubicBezTo>
                  <a:pt x="45605" y="104978"/>
                  <a:pt x="40443" y="98955"/>
                  <a:pt x="37861" y="91210"/>
                </a:cubicBezTo>
                <a:lnTo>
                  <a:pt x="49908" y="91210"/>
                </a:lnTo>
                <a:close/>
                <a:moveTo>
                  <a:pt x="32698" y="118746"/>
                </a:moveTo>
                <a:cubicBezTo>
                  <a:pt x="44745" y="130792"/>
                  <a:pt x="59373" y="136816"/>
                  <a:pt x="75722" y="136816"/>
                </a:cubicBezTo>
                <a:cubicBezTo>
                  <a:pt x="92071" y="136816"/>
                  <a:pt x="106699" y="130792"/>
                  <a:pt x="118746" y="118746"/>
                </a:cubicBezTo>
                <a:cubicBezTo>
                  <a:pt x="130793" y="106699"/>
                  <a:pt x="136816" y="92071"/>
                  <a:pt x="136816" y="75722"/>
                </a:cubicBezTo>
                <a:cubicBezTo>
                  <a:pt x="136816" y="59373"/>
                  <a:pt x="130793" y="44745"/>
                  <a:pt x="118746" y="32698"/>
                </a:cubicBezTo>
                <a:cubicBezTo>
                  <a:pt x="106699" y="20651"/>
                  <a:pt x="92931" y="14628"/>
                  <a:pt x="75722" y="14628"/>
                </a:cubicBezTo>
                <a:cubicBezTo>
                  <a:pt x="58512" y="14628"/>
                  <a:pt x="44745" y="20651"/>
                  <a:pt x="32698" y="32698"/>
                </a:cubicBezTo>
                <a:cubicBezTo>
                  <a:pt x="20652" y="44745"/>
                  <a:pt x="14628" y="58512"/>
                  <a:pt x="14628" y="75722"/>
                </a:cubicBezTo>
                <a:cubicBezTo>
                  <a:pt x="15488" y="92931"/>
                  <a:pt x="20652" y="106699"/>
                  <a:pt x="32698" y="118746"/>
                </a:cubicBezTo>
                <a:close/>
                <a:moveTo>
                  <a:pt x="22373" y="22372"/>
                </a:moveTo>
                <a:cubicBezTo>
                  <a:pt x="37000" y="7744"/>
                  <a:pt x="55071" y="0"/>
                  <a:pt x="75722" y="0"/>
                </a:cubicBezTo>
                <a:cubicBezTo>
                  <a:pt x="96374" y="0"/>
                  <a:pt x="114443" y="7744"/>
                  <a:pt x="129072" y="22372"/>
                </a:cubicBezTo>
                <a:cubicBezTo>
                  <a:pt x="143700" y="37000"/>
                  <a:pt x="151444" y="55070"/>
                  <a:pt x="151444" y="75722"/>
                </a:cubicBezTo>
                <a:cubicBezTo>
                  <a:pt x="151444" y="96373"/>
                  <a:pt x="143700" y="114443"/>
                  <a:pt x="129072" y="129072"/>
                </a:cubicBezTo>
                <a:cubicBezTo>
                  <a:pt x="114443" y="143699"/>
                  <a:pt x="96374" y="151444"/>
                  <a:pt x="75722" y="151444"/>
                </a:cubicBezTo>
                <a:cubicBezTo>
                  <a:pt x="55071" y="151444"/>
                  <a:pt x="37000" y="143699"/>
                  <a:pt x="22373" y="129072"/>
                </a:cubicBezTo>
                <a:cubicBezTo>
                  <a:pt x="7745" y="114443"/>
                  <a:pt x="0" y="96373"/>
                  <a:pt x="0" y="75722"/>
                </a:cubicBezTo>
                <a:cubicBezTo>
                  <a:pt x="0" y="55070"/>
                  <a:pt x="7745" y="37861"/>
                  <a:pt x="22373" y="22372"/>
                </a:cubicBezTo>
                <a:close/>
                <a:moveTo>
                  <a:pt x="41303" y="65396"/>
                </a:moveTo>
                <a:cubicBezTo>
                  <a:pt x="39582" y="62815"/>
                  <a:pt x="37861" y="60233"/>
                  <a:pt x="37861" y="56791"/>
                </a:cubicBezTo>
                <a:cubicBezTo>
                  <a:pt x="37861" y="53349"/>
                  <a:pt x="38721" y="50768"/>
                  <a:pt x="41303" y="49047"/>
                </a:cubicBezTo>
                <a:cubicBezTo>
                  <a:pt x="43885" y="46466"/>
                  <a:pt x="46466" y="45605"/>
                  <a:pt x="49908" y="45605"/>
                </a:cubicBezTo>
                <a:cubicBezTo>
                  <a:pt x="53350" y="45605"/>
                  <a:pt x="55931" y="46466"/>
                  <a:pt x="57652" y="49047"/>
                </a:cubicBezTo>
                <a:cubicBezTo>
                  <a:pt x="60233" y="50768"/>
                  <a:pt x="61094" y="54210"/>
                  <a:pt x="61094" y="56791"/>
                </a:cubicBezTo>
                <a:cubicBezTo>
                  <a:pt x="61094" y="60233"/>
                  <a:pt x="60233" y="62815"/>
                  <a:pt x="57652" y="65396"/>
                </a:cubicBezTo>
                <a:cubicBezTo>
                  <a:pt x="55931" y="67117"/>
                  <a:pt x="52489" y="68838"/>
                  <a:pt x="49908" y="68838"/>
                </a:cubicBezTo>
                <a:cubicBezTo>
                  <a:pt x="46466" y="68838"/>
                  <a:pt x="43024" y="67978"/>
                  <a:pt x="41303" y="65396"/>
                </a:cubicBezTo>
                <a:close/>
                <a:moveTo>
                  <a:pt x="94652" y="65396"/>
                </a:moveTo>
                <a:cubicBezTo>
                  <a:pt x="92931" y="62815"/>
                  <a:pt x="91211" y="60233"/>
                  <a:pt x="91211" y="56791"/>
                </a:cubicBezTo>
                <a:cubicBezTo>
                  <a:pt x="91211" y="53349"/>
                  <a:pt x="92071" y="50768"/>
                  <a:pt x="94652" y="49047"/>
                </a:cubicBezTo>
                <a:cubicBezTo>
                  <a:pt x="97234" y="46466"/>
                  <a:pt x="99816" y="45605"/>
                  <a:pt x="103257" y="45605"/>
                </a:cubicBezTo>
                <a:cubicBezTo>
                  <a:pt x="106699" y="45605"/>
                  <a:pt x="109281" y="46466"/>
                  <a:pt x="111002" y="49047"/>
                </a:cubicBezTo>
                <a:cubicBezTo>
                  <a:pt x="113583" y="50768"/>
                  <a:pt x="114443" y="54210"/>
                  <a:pt x="114443" y="56791"/>
                </a:cubicBezTo>
                <a:cubicBezTo>
                  <a:pt x="114443" y="60233"/>
                  <a:pt x="113583" y="62815"/>
                  <a:pt x="111002" y="65396"/>
                </a:cubicBezTo>
                <a:cubicBezTo>
                  <a:pt x="109281" y="67117"/>
                  <a:pt x="105839" y="68838"/>
                  <a:pt x="103257" y="68838"/>
                </a:cubicBezTo>
                <a:cubicBezTo>
                  <a:pt x="99816" y="68838"/>
                  <a:pt x="97234" y="67978"/>
                  <a:pt x="94652" y="65396"/>
                </a:cubicBezTo>
                <a:close/>
              </a:path>
            </a:pathLst>
          </a:custGeom>
          <a:solidFill>
            <a:schemeClr val="accent1"/>
          </a:solidFill>
          <a:ln w="8603" cap="flat">
            <a:noFill/>
            <a:prstDash val="solid"/>
            <a:miter/>
          </a:ln>
        </p:spPr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/>
          </a:p>
        </p:txBody>
      </p:sp>
      <p:graphicFrame>
        <p:nvGraphicFramePr>
          <p:cNvPr id="19" name="Diagram 18">
            <a:extLst>
              <a:ext uri="{FF2B5EF4-FFF2-40B4-BE49-F238E27FC236}">
                <a16:creationId xmlns:a16="http://schemas.microsoft.com/office/drawing/2014/main" id="{6DB31BD9-9ABC-96E7-D6BA-56DFB14747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7444192"/>
              </p:ext>
            </p:extLst>
          </p:nvPr>
        </p:nvGraphicFramePr>
        <p:xfrm>
          <a:off x="3214415" y="1359283"/>
          <a:ext cx="5823589" cy="41378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8" name="TextBox 27">
            <a:extLst>
              <a:ext uri="{FF2B5EF4-FFF2-40B4-BE49-F238E27FC236}">
                <a16:creationId xmlns:a16="http://schemas.microsoft.com/office/drawing/2014/main" id="{4998AEAE-3C5E-AE35-636B-1366500988C7}"/>
              </a:ext>
            </a:extLst>
          </p:cNvPr>
          <p:cNvSpPr txBox="1"/>
          <p:nvPr/>
        </p:nvSpPr>
        <p:spPr>
          <a:xfrm>
            <a:off x="715888" y="914400"/>
            <a:ext cx="45292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spc="600">
                <a:solidFill>
                  <a:schemeClr val="bg2">
                    <a:lumMod val="50000"/>
                  </a:schemeClr>
                </a:solidFill>
                <a:latin typeface="Houschka Head Medium" panose="020F0603020000020003" pitchFamily="34" charset="0"/>
              </a:rPr>
              <a:t>REMEMBER OUR OWL SYSTEM</a:t>
            </a:r>
          </a:p>
        </p:txBody>
      </p:sp>
      <p:sp>
        <p:nvSpPr>
          <p:cNvPr id="5" name="Title 8">
            <a:extLst>
              <a:ext uri="{FF2B5EF4-FFF2-40B4-BE49-F238E27FC236}">
                <a16:creationId xmlns:a16="http://schemas.microsoft.com/office/drawing/2014/main" id="{2C5B4265-8648-FC99-3C40-53F31FDA779E}"/>
              </a:ext>
            </a:extLst>
          </p:cNvPr>
          <p:cNvSpPr txBox="1">
            <a:spLocks/>
          </p:cNvSpPr>
          <p:nvPr/>
        </p:nvSpPr>
        <p:spPr bwMode="auto">
          <a:xfrm>
            <a:off x="730250" y="366713"/>
            <a:ext cx="10736263" cy="547687"/>
          </a:xfrm>
          <a:prstGeom prst="rect">
            <a:avLst/>
          </a:prstGeom>
          <a:noFill/>
          <a:ln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0"/>
                  </a:srgbClr>
                </a:solidFill>
              </a14:hiddenFill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kumimoji="0" sz="3200" b="0" i="0" u="none" kern="1200" baseline="0">
                <a:solidFill>
                  <a:srgbClr val="000000"/>
                </a:solidFill>
                <a:latin typeface="Verdana" panose="020B060403050404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ouschka Head Medium"/>
                <a:ea typeface="+mj-ea"/>
                <a:cs typeface="+mj-cs"/>
              </a:rPr>
              <a:t>Onboarding</a:t>
            </a: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AD4325F1-16B9-B1EC-2BD6-2F10A34D4F5F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428" y="6420269"/>
            <a:ext cx="690955" cy="169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1648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O42CofYZ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9J6eIuYUWr3isC8saLD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f2QGuRzRy.I1ZnkB2Ev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05 Slide Title Basic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NRSTYLE" val="06 Subtitle Basic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f2QGuRzRy.I1ZnkB2Ev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I2PqVFiWBYqOnfqpTUF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9J6eIuYUWr3isC8saLD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9SG4Hhfup7IcH7MFlij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0SZlu.hvgvamj2f8pUj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g2Le7QoqKYUTZqbSztE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g2Le7QoqKYUTZqbSztE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g2Le7QoqKYUTZqbSztE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LHkdZYYZ4Sfw1XfvHrI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f2QGuRzRy.I1ZnkB2E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FOrR6a14vHvkFZ.zPr7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9SG4Hhfup7IcH7MFli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0SZlu.hvgvamj2f8pUj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g2Le7QoqKYUTZqbSzt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g2Le7QoqKYUTZqbSzt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g2Le7QoqKYUTZqbSzt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I2PqVFiWBYqOnfqpTUF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LHkdZYYZ4Sfw1XfvHrI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ebkhVvyzTDHgur7m1ow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Adecco Workforce Solutions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DA291C"/>
      </a:accent1>
      <a:accent2>
        <a:srgbClr val="BF0D3E"/>
      </a:accent2>
      <a:accent3>
        <a:srgbClr val="782F40"/>
      </a:accent3>
      <a:accent4>
        <a:srgbClr val="00B398"/>
      </a:accent4>
      <a:accent5>
        <a:srgbClr val="F2A900"/>
      </a:accent5>
      <a:accent6>
        <a:srgbClr val="43B02A"/>
      </a:accent6>
      <a:hlink>
        <a:srgbClr val="DA291C"/>
      </a:hlink>
      <a:folHlink>
        <a:srgbClr val="BFBFBF"/>
      </a:folHlink>
    </a:clrScheme>
    <a:fontScheme name="adecco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6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Adecco Workforce Solutions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DA291C"/>
      </a:accent1>
      <a:accent2>
        <a:srgbClr val="BF0D3E"/>
      </a:accent2>
      <a:accent3>
        <a:srgbClr val="782F40"/>
      </a:accent3>
      <a:accent4>
        <a:srgbClr val="00B398"/>
      </a:accent4>
      <a:accent5>
        <a:srgbClr val="F2A900"/>
      </a:accent5>
      <a:accent6>
        <a:srgbClr val="43B02A"/>
      </a:accent6>
      <a:hlink>
        <a:srgbClr val="DA291C"/>
      </a:hlink>
      <a:folHlink>
        <a:srgbClr val="BFBFBF"/>
      </a:folHlink>
    </a:clrScheme>
    <a:fontScheme name="Brand font -Adecco">
      <a:majorFont>
        <a:latin typeface="Houschka Head DemiBold"/>
        <a:ea typeface=""/>
        <a:cs typeface=""/>
      </a:majorFont>
      <a:minorFont>
        <a:latin typeface="Houschka Head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6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ema de Office">
  <a:themeElements>
    <a:clrScheme name="Adecco Workforce Solutions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DA291C"/>
      </a:accent1>
      <a:accent2>
        <a:srgbClr val="BF0D3E"/>
      </a:accent2>
      <a:accent3>
        <a:srgbClr val="782F40"/>
      </a:accent3>
      <a:accent4>
        <a:srgbClr val="00B398"/>
      </a:accent4>
      <a:accent5>
        <a:srgbClr val="F2A900"/>
      </a:accent5>
      <a:accent6>
        <a:srgbClr val="43B02A"/>
      </a:accent6>
      <a:hlink>
        <a:srgbClr val="DA291C"/>
      </a:hlink>
      <a:folHlink>
        <a:srgbClr val="BFBFBF"/>
      </a:folHlink>
    </a:clrScheme>
    <a:fontScheme name="Brand font -Adecco">
      <a:majorFont>
        <a:latin typeface="Houschka Head DemiBold"/>
        <a:ea typeface=""/>
        <a:cs typeface=""/>
      </a:majorFont>
      <a:minorFont>
        <a:latin typeface="Houschka Head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6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rderRelated xmlns="fb81166d-fc60-4e17-b22f-9e63ad9df1a6" xsi:nil="true"/>
    <TaxCatchAll xmlns="f4329076-ad6c-4420-b9cc-77de9a7d401f" xsi:nil="true"/>
    <lcf76f155ced4ddcb4097134ff3c332f xmlns="fb81166d-fc60-4e17-b22f-9e63ad9df1a6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B98CCA3BDFE94C9A86770C758C537E" ma:contentTypeVersion="" ma:contentTypeDescription="Create a new document." ma:contentTypeScope="" ma:versionID="87570294d369620e9bb5a64d7a8cb68a">
  <xsd:schema xmlns:xsd="http://www.w3.org/2001/XMLSchema" xmlns:xs="http://www.w3.org/2001/XMLSchema" xmlns:p="http://schemas.microsoft.com/office/2006/metadata/properties" xmlns:ns1="http://schemas.microsoft.com/sharepoint/v3" xmlns:ns2="fb81166d-fc60-4e17-b22f-9e63ad9df1a6" xmlns:ns3="7aef9116-ab03-4138-ac76-366e98add52a" xmlns:ns4="f4329076-ad6c-4420-b9cc-77de9a7d401f" targetNamespace="http://schemas.microsoft.com/office/2006/metadata/properties" ma:root="true" ma:fieldsID="f801eb675632a458b3907fc87a37794e" ns1:_="" ns2:_="" ns3:_="" ns4:_="">
    <xsd:import namespace="http://schemas.microsoft.com/sharepoint/v3"/>
    <xsd:import namespace="fb81166d-fc60-4e17-b22f-9e63ad9df1a6"/>
    <xsd:import namespace="7aef9116-ab03-4138-ac76-366e98add52a"/>
    <xsd:import namespace="f4329076-ad6c-4420-b9cc-77de9a7d401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  <xsd:element ref="ns2:OrderRelated" minOccurs="0"/>
                <xsd:element ref="ns2:lcf76f155ced4ddcb4097134ff3c332f" minOccurs="0"/>
                <xsd:element ref="ns4:TaxCatchAll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81166d-fc60-4e17-b22f-9e63ad9df1a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OrderRelated" ma:index="21" nillable="true" ma:displayName="Subject" ma:format="Dropdown" ma:internalName="OrderRelated">
      <xsd:simpleType>
        <xsd:restriction base="dms:Text">
          <xsd:maxLength value="255"/>
        </xsd:restriction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25a26606-5c73-4822-bc95-38ee462397a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ef9116-ab03-4138-ac76-366e98add52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329076-ad6c-4420-b9cc-77de9a7d401f" elementFormDefault="qualified">
    <xsd:import namespace="http://schemas.microsoft.com/office/2006/documentManagement/types"/>
    <xsd:import namespace="http://schemas.microsoft.com/office/infopath/2007/PartnerControls"/>
    <xsd:element name="TaxCatchAll" ma:index="24" nillable="true" ma:displayName="Taxonomy Catch All Column" ma:hidden="true" ma:list="{59FC28E2-1442-4CBE-8F25-B8B5AB054847}" ma:internalName="TaxCatchAll" ma:showField="CatchAllData" ma:web="{7aef9116-ab03-4138-ac76-366e98add52a}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0A69755-B573-4EF3-8119-97E3B8D2D9B6}">
  <ds:schemaRefs>
    <ds:schemaRef ds:uri="7aef9116-ab03-4138-ac76-366e98add52a"/>
    <ds:schemaRef ds:uri="f4329076-ad6c-4420-b9cc-77de9a7d401f"/>
    <ds:schemaRef ds:uri="fb81166d-fc60-4e17-b22f-9e63ad9df1a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BEF003D-9BD2-4AF8-AD02-C9F9EDCB20CF}">
  <ds:schemaRefs>
    <ds:schemaRef ds:uri="7aef9116-ab03-4138-ac76-366e98add52a"/>
    <ds:schemaRef ds:uri="f4329076-ad6c-4420-b9cc-77de9a7d401f"/>
    <ds:schemaRef ds:uri="fb81166d-fc60-4e17-b22f-9e63ad9df1a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D38FC02-08AF-49E6-A0B5-FCFE614CA1C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Application>Microsoft Office PowerPoint</Application>
  <PresentationFormat>Widescreen</PresentationFormat>
  <Slides>3</Slides>
  <Notes>3</Notes>
  <HiddenSlides>0</HiddenSlide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3</vt:i4>
      </vt:variant>
    </vt:vector>
  </HeadingPairs>
  <TitlesOfParts>
    <vt:vector size="6" baseType="lpstr">
      <vt:lpstr>Tema de Office</vt:lpstr>
      <vt:lpstr>Tema de Office</vt:lpstr>
      <vt:lpstr>1_Tema de Office</vt:lpstr>
      <vt:lpstr>We Believe In the Power of Work</vt:lpstr>
      <vt:lpstr>Accommodation Does Not Equal Hardship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r Option 1</dc:title>
  <dc:creator/>
  <cp:revision>1</cp:revision>
  <dcterms:created xsi:type="dcterms:W3CDTF">2021-01-21T13:19:40Z</dcterms:created>
  <dcterms:modified xsi:type="dcterms:W3CDTF">2024-10-11T16:5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B98CCA3BDFE94C9A86770C758C537E</vt:lpwstr>
  </property>
</Properties>
</file>